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b" ContentType="application/vnd.ms-excel.sheet.binary.macroEnabled.12"/>
  <Default Extension="vml" ContentType="application/vnd.openxmlformats-officedocument.vmlDrawing"/>
  <Default Extension="jpg" ContentType="image/jp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charts/chart1.xml" ContentType="application/vnd.openxmlformats-officedocument.drawingml.chart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charts/chart2.xml" ContentType="application/vnd.openxmlformats-officedocument.drawingml.chart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notesSlides/notesSlide5.xml" ContentType="application/vnd.openxmlformats-officedocument.presentationml.notesSlide+xml"/>
  <Override PartName="/ppt/charts/chart3.xml" ContentType="application/vnd.openxmlformats-officedocument.drawingml.chart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notesSlides/notesSlide6.xml" ContentType="application/vnd.openxmlformats-officedocument.presentationml.notesSlide+xml"/>
  <Override PartName="/ppt/charts/chart6.xml" ContentType="application/vnd.openxmlformats-officedocument.drawingml.chart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notesSlides/notesSlide7.xml" ContentType="application/vnd.openxmlformats-officedocument.presentationml.notesSlide+xml"/>
  <Override PartName="/ppt/charts/chart7.xml" ContentType="application/vnd.openxmlformats-officedocument.drawingml.chart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notesSlides/notesSlide8.xml" ContentType="application/vnd.openxmlformats-officedocument.presentationml.notesSlide+xml"/>
  <Override PartName="/ppt/charts/chart8.xml" ContentType="application/vnd.openxmlformats-officedocument.drawingml.chart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13">
  <p:sldMasterIdLst>
    <p:sldMasterId id="2147483648" r:id="rId1"/>
  </p:sldMasterIdLst>
  <p:notesMasterIdLst>
    <p:notesMasterId r:id="rId20"/>
  </p:notesMasterIdLst>
  <p:handoutMasterIdLst>
    <p:handoutMasterId r:id="rId21"/>
  </p:handoutMasterIdLst>
  <p:sldIdLst>
    <p:sldId id="256" r:id="rId2"/>
    <p:sldId id="392" r:id="rId3"/>
    <p:sldId id="403" r:id="rId4"/>
    <p:sldId id="341" r:id="rId5"/>
    <p:sldId id="419" r:id="rId6"/>
    <p:sldId id="420" r:id="rId7"/>
    <p:sldId id="421" r:id="rId8"/>
    <p:sldId id="422" r:id="rId9"/>
    <p:sldId id="397" r:id="rId10"/>
    <p:sldId id="423" r:id="rId11"/>
    <p:sldId id="393" r:id="rId12"/>
    <p:sldId id="294" r:id="rId13"/>
    <p:sldId id="398" r:id="rId14"/>
    <p:sldId id="433" r:id="rId15"/>
    <p:sldId id="434" r:id="rId16"/>
    <p:sldId id="435" r:id="rId17"/>
    <p:sldId id="436" r:id="rId18"/>
    <p:sldId id="438" r:id="rId19"/>
  </p:sldIdLst>
  <p:sldSz cx="10693400" cy="7562850"/>
  <p:notesSz cx="9926638" cy="6797675"/>
  <p:custDataLst>
    <p:tags r:id="rId22"/>
  </p:custDataLst>
  <p:defaultTextStyle>
    <a:defPPr>
      <a:defRPr lang="pl-PL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654" userDrawn="1">
          <p15:clr>
            <a:srgbClr val="A4A3A4"/>
          </p15:clr>
        </p15:guide>
        <p15:guide id="4" orient="horz" pos="1225" userDrawn="1">
          <p15:clr>
            <a:srgbClr val="A4A3A4"/>
          </p15:clr>
        </p15:guide>
        <p15:guide id="6" pos="533" userDrawn="1">
          <p15:clr>
            <a:srgbClr val="A4A3A4"/>
          </p15:clr>
        </p15:guide>
        <p15:guide id="7" orient="horz" pos="1679" userDrawn="1">
          <p15:clr>
            <a:srgbClr val="A4A3A4"/>
          </p15:clr>
        </p15:guide>
        <p15:guide id="8" pos="5477" userDrawn="1">
          <p15:clr>
            <a:srgbClr val="A4A3A4"/>
          </p15:clr>
        </p15:guide>
        <p15:guide id="9" pos="6203" userDrawn="1">
          <p15:clr>
            <a:srgbClr val="A4A3A4"/>
          </p15:clr>
        </p15:guide>
        <p15:guide id="14" orient="horz" pos="3992" userDrawn="1">
          <p15:clr>
            <a:srgbClr val="A4A3A4"/>
          </p15:clr>
        </p15:guide>
        <p15:guide id="15" orient="horz" pos="50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empart Marcin" initials="LM" lastIdx="9" clrIdx="0">
    <p:extLst>
      <p:ext uri="{19B8F6BF-5375-455C-9EA6-DF929625EA0E}">
        <p15:presenceInfo xmlns:p15="http://schemas.microsoft.com/office/powerpoint/2012/main" userId="S-1-5-21-522216382-2247439160-3445271121-76623" providerId="AD"/>
      </p:ext>
    </p:extLst>
  </p:cmAuthor>
  <p:cmAuthor id="2" name="Korolczuk Agnieszka" initials="KA" lastIdx="28" clrIdx="1">
    <p:extLst>
      <p:ext uri="{19B8F6BF-5375-455C-9EA6-DF929625EA0E}">
        <p15:presenceInfo xmlns:p15="http://schemas.microsoft.com/office/powerpoint/2012/main" userId="S-1-5-21-522216382-2247439160-3445271121-80000" providerId="AD"/>
      </p:ext>
    </p:extLst>
  </p:cmAuthor>
  <p:cmAuthor id="3" name="Chmielewska Monika" initials="CM" lastIdx="43" clrIdx="2">
    <p:extLst>
      <p:ext uri="{19B8F6BF-5375-455C-9EA6-DF929625EA0E}">
        <p15:presenceInfo xmlns:p15="http://schemas.microsoft.com/office/powerpoint/2012/main" userId="S-1-5-21-522216382-2247439160-3445271121-11373" providerId="AD"/>
      </p:ext>
    </p:extLst>
  </p:cmAuthor>
  <p:cmAuthor id="4" name="Zadoń Michał" initials="ZM" lastIdx="10" clrIdx="3">
    <p:extLst>
      <p:ext uri="{19B8F6BF-5375-455C-9EA6-DF929625EA0E}">
        <p15:presenceInfo xmlns:p15="http://schemas.microsoft.com/office/powerpoint/2012/main" userId="S-1-5-21-522216382-2247439160-3445271121-72412" providerId="AD"/>
      </p:ext>
    </p:extLst>
  </p:cmAuthor>
  <p:cmAuthor id="5" name="Serwaczak Paweł" initials="SP" lastIdx="5" clrIdx="4">
    <p:extLst>
      <p:ext uri="{19B8F6BF-5375-455C-9EA6-DF929625EA0E}">
        <p15:presenceInfo xmlns:p15="http://schemas.microsoft.com/office/powerpoint/2012/main" userId="S-1-5-21-522216382-2247439160-3445271121-704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A4D98"/>
    <a:srgbClr val="004F9F"/>
    <a:srgbClr val="0047BF"/>
    <a:srgbClr val="074F9F"/>
    <a:srgbClr val="005BAB"/>
    <a:srgbClr val="555454"/>
    <a:srgbClr val="EDEDED"/>
    <a:srgbClr val="9D9C9C"/>
    <a:srgbClr val="DCE6F2"/>
    <a:srgbClr val="ECF1F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Styl pośredni 2 — ak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Styl jasny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E9639D4-E3E2-4D34-9284-5A2195B3D0D7}" styleName="Styl jasny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69012ECD-51FC-41F1-AA8D-1B2483CD663E}" styleName="Styl jasny 2 — Ak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11" autoAdjust="0"/>
    <p:restoredTop sz="94125" autoAdjust="0"/>
  </p:normalViewPr>
  <p:slideViewPr>
    <p:cSldViewPr snapToGrid="0">
      <p:cViewPr varScale="1">
        <p:scale>
          <a:sx n="57" d="100"/>
          <a:sy n="57" d="100"/>
        </p:scale>
        <p:origin x="1004" y="32"/>
      </p:cViewPr>
      <p:guideLst>
        <p:guide orient="horz" pos="2654"/>
        <p:guide orient="horz" pos="1225"/>
        <p:guide pos="533"/>
        <p:guide orient="horz" pos="1679"/>
        <p:guide pos="5477"/>
        <p:guide pos="6203"/>
        <p:guide orient="horz" pos="3992"/>
        <p:guide orient="horz" pos="50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 snapToGrid="0" showGuides="1">
      <p:cViewPr varScale="1">
        <p:scale>
          <a:sx n="72" d="100"/>
          <a:sy n="72" d="100"/>
        </p:scale>
        <p:origin x="1008" y="3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Arkusz_binarny_programu_Microsoft_Excel1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Arkusz_binarny_programu_Microsoft_Excel2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Arkusz_binarny_programu_Microsoft_Excel3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Arkusz_binarny_programu_Microsoft_Excel4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Arkusz_binarny_programu_Microsoft_Excel5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Arkusz_binarny_programu_Microsoft_Excel6.xlsb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Arkusz_binarny_programu_Microsoft_Excel7.xlsb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Arkusz_binarny_programu_Microsoft_Excel8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1504424778761062E-2"/>
          <c:y val="2.9131652661064426E-2"/>
          <c:w val="0.97699115044247786"/>
          <c:h val="0.9417366946778711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B1B1B1"/>
            </a:solidFill>
            <a:ln w="3175" algn="ctr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1.6806722689075631E-3"/>
                </c:manualLayout>
              </c:layout>
              <c:tx>
                <c:rich>
                  <a:bodyPr wrap="none"/>
                  <a:lstStyle/>
                  <a:p>
                    <a:pPr rtl="0">
                      <a:defRPr sz="14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/>
                      <a:t>6.9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5559-47AC-8B00-24532FD1483F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1"/>
              <c:layout>
                <c:manualLayout>
                  <c:x val="0"/>
                  <c:y val="-2.2408963585434172E-3"/>
                </c:manualLayout>
              </c:layout>
              <c:tx>
                <c:rich>
                  <a:bodyPr wrap="none"/>
                  <a:lstStyle/>
                  <a:p>
                    <a:pPr rtl="0">
                      <a:defRPr sz="14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/>
                      <a:t>7.7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5559-47AC-8B00-24532FD1483F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2"/>
              <c:layout>
                <c:manualLayout>
                  <c:x val="0"/>
                  <c:y val="-1.6806722689075631E-3"/>
                </c:manualLayout>
              </c:layout>
              <c:tx>
                <c:rich>
                  <a:bodyPr wrap="none"/>
                  <a:lstStyle/>
                  <a:p>
                    <a:pPr rtl="0">
                      <a:defRPr sz="14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/>
                      <a:t>7.1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5559-47AC-8B00-24532FD1483F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3"/>
              <c:layout>
                <c:manualLayout>
                  <c:x val="0"/>
                  <c:y val="-2.2408963585434172E-3"/>
                </c:manualLayout>
              </c:layout>
              <c:tx>
                <c:rich>
                  <a:bodyPr wrap="none"/>
                  <a:lstStyle/>
                  <a:p>
                    <a:pPr rtl="0">
                      <a:defRPr sz="14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/>
                      <a:t>6.4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5559-47AC-8B00-24532FD1483F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4"/>
              <c:layout>
                <c:manualLayout>
                  <c:x val="0"/>
                  <c:y val="-1.6806722689075631E-3"/>
                </c:manualLayout>
              </c:layout>
              <c:tx>
                <c:rich>
                  <a:bodyPr wrap="none"/>
                  <a:lstStyle/>
                  <a:p>
                    <a:pPr rtl="0">
                      <a:defRPr sz="14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/>
                      <a:t>5.8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5559-47AC-8B00-24532FD1483F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5"/>
              <c:layout>
                <c:manualLayout>
                  <c:x val="0"/>
                  <c:y val="-2.2408963585434172E-3"/>
                </c:manualLayout>
              </c:layout>
              <c:tx>
                <c:rich>
                  <a:bodyPr wrap="none"/>
                  <a:lstStyle/>
                  <a:p>
                    <a:pPr rtl="0">
                      <a:defRPr sz="14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+mn-lt"/>
                      </a:defRPr>
                    </a:pPr>
                    <a:r>
                      <a:rPr lang="en-US" dirty="0"/>
                      <a:t>6.1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5559-47AC-8B00-24532FD1483F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F$1</c:f>
              <c:numCache>
                <c:formatCode>General</c:formatCode>
                <c:ptCount val="6"/>
                <c:pt idx="0">
                  <c:v>6.9059999999999997</c:v>
                </c:pt>
                <c:pt idx="1">
                  <c:v>7.7119999999999997</c:v>
                </c:pt>
                <c:pt idx="2">
                  <c:v>7.0890000000000004</c:v>
                </c:pt>
                <c:pt idx="3">
                  <c:v>6.36</c:v>
                </c:pt>
                <c:pt idx="4">
                  <c:v>5.7569999999999997</c:v>
                </c:pt>
                <c:pt idx="5">
                  <c:v>6.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5559-47AC-8B00-24532FD1483F}"/>
            </c:ext>
          </c:extLst>
        </c:ser>
        <c:ser>
          <c:idx val="1"/>
          <c:order val="1"/>
          <c:spPr>
            <a:solidFill>
              <a:srgbClr val="8E9ED1"/>
            </a:solidFill>
            <a:ln w="3175" algn="ctr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1.6806722689075631E-3"/>
                </c:manualLayout>
              </c:layout>
              <c:tx>
                <c:rich>
                  <a:bodyPr wrap="none"/>
                  <a:lstStyle/>
                  <a:p>
                    <a:pPr rtl="0">
                      <a:defRPr sz="14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/>
                      <a:t>3.4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5559-47AC-8B00-24532FD1483F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1"/>
              <c:layout>
                <c:manualLayout>
                  <c:x val="0"/>
                  <c:y val="-1.6806722689075631E-3"/>
                </c:manualLayout>
              </c:layout>
              <c:tx>
                <c:rich>
                  <a:bodyPr wrap="none"/>
                  <a:lstStyle/>
                  <a:p>
                    <a:pPr rtl="0">
                      <a:defRPr sz="14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/>
                      <a:t>4.0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8-5559-47AC-8B00-24532FD1483F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2"/>
              <c:layout>
                <c:manualLayout>
                  <c:x val="0"/>
                  <c:y val="-1.6806722689075631E-3"/>
                </c:manualLayout>
              </c:layout>
              <c:tx>
                <c:rich>
                  <a:bodyPr wrap="none"/>
                  <a:lstStyle/>
                  <a:p>
                    <a:pPr rtl="0">
                      <a:defRPr sz="14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/>
                      <a:t>3.7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9-5559-47AC-8B00-24532FD1483F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3"/>
              <c:layout>
                <c:manualLayout>
                  <c:x val="0"/>
                  <c:y val="-1.6806722689075631E-3"/>
                </c:manualLayout>
              </c:layout>
              <c:tx>
                <c:rich>
                  <a:bodyPr wrap="none"/>
                  <a:lstStyle/>
                  <a:p>
                    <a:pPr rtl="0">
                      <a:defRPr sz="14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/>
                      <a:t>2.7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A-5559-47AC-8B00-24532FD1483F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4"/>
              <c:layout>
                <c:manualLayout>
                  <c:x val="0"/>
                  <c:y val="-1.6806722689075631E-3"/>
                </c:manualLayout>
              </c:layout>
              <c:tx>
                <c:rich>
                  <a:bodyPr wrap="none"/>
                  <a:lstStyle/>
                  <a:p>
                    <a:pPr rtl="0">
                      <a:defRPr sz="14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/>
                      <a:t>2.0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B-5559-47AC-8B00-24532FD1483F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5"/>
              <c:layout>
                <c:manualLayout>
                  <c:x val="0"/>
                  <c:y val="-1.6806722689075631E-3"/>
                </c:manualLayout>
              </c:layout>
              <c:tx>
                <c:rich>
                  <a:bodyPr wrap="none"/>
                  <a:lstStyle/>
                  <a:p>
                    <a:pPr rtl="0">
                      <a:defRPr sz="14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+mn-lt"/>
                      </a:defRPr>
                    </a:pPr>
                    <a:r>
                      <a:rPr lang="en-US" dirty="0"/>
                      <a:t>2.1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C-5559-47AC-8B00-24532FD1483F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F$2</c:f>
              <c:numCache>
                <c:formatCode>General</c:formatCode>
                <c:ptCount val="6"/>
                <c:pt idx="0">
                  <c:v>3.4359999999999991</c:v>
                </c:pt>
                <c:pt idx="1">
                  <c:v>4.027000000000001</c:v>
                </c:pt>
                <c:pt idx="2">
                  <c:v>3.7320000000000011</c:v>
                </c:pt>
                <c:pt idx="3">
                  <c:v>2.742</c:v>
                </c:pt>
                <c:pt idx="4">
                  <c:v>1.9800000000000004</c:v>
                </c:pt>
                <c:pt idx="5">
                  <c:v>2.099999999999999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D-5559-47AC-8B00-24532FD1483F}"/>
            </c:ext>
          </c:extLst>
        </c:ser>
        <c:ser>
          <c:idx val="2"/>
          <c:order val="2"/>
          <c:spPr>
            <a:solidFill>
              <a:srgbClr val="555454"/>
            </a:solidFill>
            <a:ln w="3175" algn="ctr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1.6806722689075631E-3"/>
                </c:manualLayout>
              </c:layout>
              <c:tx>
                <c:rich>
                  <a:bodyPr wrap="none"/>
                  <a:lstStyle/>
                  <a:p>
                    <a:pPr rtl="0">
                      <a:defRPr sz="1400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/>
                      <a:t>2.5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E-5559-47AC-8B00-24532FD1483F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1"/>
              <c:layout>
                <c:manualLayout>
                  <c:x val="0"/>
                  <c:y val="-2.2408963585434172E-3"/>
                </c:manualLayout>
              </c:layout>
              <c:tx>
                <c:rich>
                  <a:bodyPr wrap="none"/>
                  <a:lstStyle/>
                  <a:p>
                    <a:pPr rtl="0">
                      <a:defRPr sz="1400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/>
                      <a:t>3.2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F-5559-47AC-8B00-24532FD1483F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2"/>
              <c:layout>
                <c:manualLayout>
                  <c:x val="0"/>
                  <c:y val="-2.2408963585434172E-3"/>
                </c:manualLayout>
              </c:layout>
              <c:tx>
                <c:rich>
                  <a:bodyPr wrap="none"/>
                  <a:lstStyle/>
                  <a:p>
                    <a:pPr rtl="0">
                      <a:defRPr sz="1400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/>
                      <a:t>4.1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0-5559-47AC-8B00-24532FD1483F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3"/>
              <c:layout>
                <c:manualLayout>
                  <c:x val="0"/>
                  <c:y val="-1.6806722689075631E-3"/>
                </c:manualLayout>
              </c:layout>
              <c:tx>
                <c:rich>
                  <a:bodyPr wrap="none"/>
                  <a:lstStyle/>
                  <a:p>
                    <a:pPr rtl="0">
                      <a:defRPr sz="1400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/>
                      <a:t>4.1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1-5559-47AC-8B00-24532FD1483F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4"/>
              <c:layout>
                <c:manualLayout>
                  <c:x val="0"/>
                  <c:y val="-1.6806722689075631E-3"/>
                </c:manualLayout>
              </c:layout>
              <c:tx>
                <c:rich>
                  <a:bodyPr wrap="none"/>
                  <a:lstStyle/>
                  <a:p>
                    <a:pPr rtl="0">
                      <a:defRPr sz="1400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/>
                      <a:t>4.3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2-5559-47AC-8B00-24532FD1483F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5"/>
              <c:layout>
                <c:manualLayout>
                  <c:x val="0"/>
                  <c:y val="-1.6806722689075631E-3"/>
                </c:manualLayout>
              </c:layout>
              <c:tx>
                <c:rich>
                  <a:bodyPr wrap="none"/>
                  <a:lstStyle/>
                  <a:p>
                    <a:pPr rtl="0">
                      <a:defRPr sz="1400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  <a:sym typeface="+mn-lt"/>
                      </a:defRPr>
                    </a:pPr>
                    <a:r>
                      <a:rPr lang="en-US" dirty="0"/>
                      <a:t>4.5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3-5559-47AC-8B00-24532FD1483F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F$3</c:f>
              <c:numCache>
                <c:formatCode>General</c:formatCode>
                <c:ptCount val="6"/>
                <c:pt idx="0">
                  <c:v>2.4740000000000002</c:v>
                </c:pt>
                <c:pt idx="1">
                  <c:v>3.2349999999999994</c:v>
                </c:pt>
                <c:pt idx="2">
                  <c:v>4.0719999999999992</c:v>
                </c:pt>
                <c:pt idx="3">
                  <c:v>4.0599999999999987</c:v>
                </c:pt>
                <c:pt idx="4">
                  <c:v>4.2900000000000009</c:v>
                </c:pt>
                <c:pt idx="5">
                  <c:v>4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4-5559-47AC-8B00-24532FD1483F}"/>
            </c:ext>
          </c:extLst>
        </c:ser>
        <c:ser>
          <c:idx val="3"/>
          <c:order val="3"/>
          <c:spPr>
            <a:solidFill>
              <a:srgbClr val="4E72B7"/>
            </a:solidFill>
            <a:ln w="3175" algn="ctr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2.2408963585434172E-3"/>
                </c:manualLayout>
              </c:layout>
              <c:tx>
                <c:rich>
                  <a:bodyPr wrap="none"/>
                  <a:lstStyle/>
                  <a:p>
                    <a:pPr rtl="0">
                      <a:defRPr sz="1400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/>
                      <a:t>4.6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5-5559-47AC-8B00-24532FD1483F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1"/>
              <c:layout>
                <c:manualLayout>
                  <c:x val="0"/>
                  <c:y val="-2.2408963585434172E-3"/>
                </c:manualLayout>
              </c:layout>
              <c:tx>
                <c:rich>
                  <a:bodyPr wrap="none"/>
                  <a:lstStyle/>
                  <a:p>
                    <a:pPr rtl="0">
                      <a:defRPr sz="1400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/>
                      <a:t>5.9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6-5559-47AC-8B00-24532FD1483F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2"/>
              <c:layout>
                <c:manualLayout>
                  <c:x val="0"/>
                  <c:y val="-1.6806722689075631E-3"/>
                </c:manualLayout>
              </c:layout>
              <c:tx>
                <c:rich>
                  <a:bodyPr wrap="none"/>
                  <a:lstStyle/>
                  <a:p>
                    <a:pPr rtl="0">
                      <a:defRPr sz="1400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/>
                      <a:t>7.2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7-5559-47AC-8B00-24532FD1483F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3"/>
              <c:layout>
                <c:manualLayout>
                  <c:x val="0"/>
                  <c:y val="-2.2408963585434172E-3"/>
                </c:manualLayout>
              </c:layout>
              <c:tx>
                <c:rich>
                  <a:bodyPr wrap="none"/>
                  <a:lstStyle/>
                  <a:p>
                    <a:pPr rtl="0">
                      <a:defRPr sz="1400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/>
                      <a:t>5.2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8-5559-47AC-8B00-24532FD1483F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4"/>
              <c:layout>
                <c:manualLayout>
                  <c:x val="0"/>
                  <c:y val="-1.6806722689075631E-3"/>
                </c:manualLayout>
              </c:layout>
              <c:tx>
                <c:rich>
                  <a:bodyPr wrap="none"/>
                  <a:lstStyle/>
                  <a:p>
                    <a:pPr rtl="0">
                      <a:defRPr sz="1400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/>
                      <a:t>4.5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9-5559-47AC-8B00-24532FD1483F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5"/>
              <c:layout>
                <c:manualLayout>
                  <c:x val="0"/>
                  <c:y val="-1.6806722689075631E-3"/>
                </c:manualLayout>
              </c:layout>
              <c:tx>
                <c:rich>
                  <a:bodyPr wrap="none"/>
                  <a:lstStyle/>
                  <a:p>
                    <a:pPr rtl="0">
                      <a:defRPr sz="1400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  <a:sym typeface="+mn-lt"/>
                      </a:defRPr>
                    </a:pPr>
                    <a:r>
                      <a:rPr lang="en-US" dirty="0"/>
                      <a:t>5.1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A-5559-47AC-8B00-24532FD1483F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F$4</c:f>
              <c:numCache>
                <c:formatCode>General</c:formatCode>
                <c:ptCount val="6"/>
                <c:pt idx="0">
                  <c:v>4.6359999999999992</c:v>
                </c:pt>
                <c:pt idx="1">
                  <c:v>5.8820000000000014</c:v>
                </c:pt>
                <c:pt idx="2">
                  <c:v>7.1849999999999987</c:v>
                </c:pt>
                <c:pt idx="3">
                  <c:v>5.2079999999999984</c:v>
                </c:pt>
                <c:pt idx="4">
                  <c:v>4.5090000000000003</c:v>
                </c:pt>
                <c:pt idx="5">
                  <c:v>5.099999999999997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B-5559-47AC-8B00-24532FD1483F}"/>
            </c:ext>
          </c:extLst>
        </c:ser>
        <c:ser>
          <c:idx val="4"/>
          <c:order val="4"/>
          <c:spPr>
            <a:solidFill>
              <a:srgbClr val="004F9F"/>
            </a:solidFill>
            <a:ln w="3175" algn="ctr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1.6806722689075631E-3"/>
                </c:manualLayout>
              </c:layout>
              <c:tx>
                <c:rich>
                  <a:bodyPr wrap="none"/>
                  <a:lstStyle/>
                  <a:p>
                    <a:pPr rtl="0">
                      <a:defRPr sz="1400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/>
                      <a:t>11.1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C-5559-47AC-8B00-24532FD1483F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1"/>
              <c:layout>
                <c:manualLayout>
                  <c:x val="0"/>
                  <c:y val="-1.6806722689075631E-3"/>
                </c:manualLayout>
              </c:layout>
              <c:tx>
                <c:rich>
                  <a:bodyPr wrap="none"/>
                  <a:lstStyle/>
                  <a:p>
                    <a:pPr rtl="0">
                      <a:defRPr sz="1400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/>
                      <a:t>10.2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D-5559-47AC-8B00-24532FD1483F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2"/>
              <c:layout>
                <c:manualLayout>
                  <c:x val="0"/>
                  <c:y val="-1.6806722689075631E-3"/>
                </c:manualLayout>
              </c:layout>
              <c:tx>
                <c:rich>
                  <a:bodyPr wrap="none"/>
                  <a:lstStyle/>
                  <a:p>
                    <a:pPr rtl="0">
                      <a:defRPr sz="1400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/>
                      <a:t>9.3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E-5559-47AC-8B00-24532FD1483F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3"/>
              <c:layout>
                <c:manualLayout>
                  <c:x val="0"/>
                  <c:y val="-2.2408963585434172E-3"/>
                </c:manualLayout>
              </c:layout>
              <c:tx>
                <c:rich>
                  <a:bodyPr wrap="none"/>
                  <a:lstStyle/>
                  <a:p>
                    <a:pPr rtl="0">
                      <a:defRPr sz="1400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/>
                      <a:t>8.5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F-5559-47AC-8B00-24532FD1483F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4"/>
              <c:layout>
                <c:manualLayout>
                  <c:x val="0"/>
                  <c:y val="-1.6806722689075631E-3"/>
                </c:manualLayout>
              </c:layout>
              <c:tx>
                <c:rich>
                  <a:bodyPr wrap="none"/>
                  <a:lstStyle/>
                  <a:p>
                    <a:pPr rtl="0">
                      <a:defRPr sz="1400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/>
                      <a:t>7.1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20-5559-47AC-8B00-24532FD1483F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5"/>
              <c:layout>
                <c:manualLayout>
                  <c:x val="0"/>
                  <c:y val="-1.6806722689075631E-3"/>
                </c:manualLayout>
              </c:layout>
              <c:tx>
                <c:rich>
                  <a:bodyPr wrap="none"/>
                  <a:lstStyle/>
                  <a:p>
                    <a:pPr rtl="0">
                      <a:defRPr sz="1400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  <a:sym typeface="+mn-lt"/>
                      </a:defRPr>
                    </a:pPr>
                    <a:r>
                      <a:rPr lang="en-US" dirty="0"/>
                      <a:t>7.8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21-5559-47AC-8B00-24532FD1483F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5:$F$5</c:f>
              <c:numCache>
                <c:formatCode>General</c:formatCode>
                <c:ptCount val="6"/>
                <c:pt idx="0">
                  <c:v>11.07</c:v>
                </c:pt>
                <c:pt idx="1">
                  <c:v>10.155000000000001</c:v>
                </c:pt>
                <c:pt idx="2">
                  <c:v>9.3129999999999988</c:v>
                </c:pt>
                <c:pt idx="3">
                  <c:v>8.5020000000000024</c:v>
                </c:pt>
                <c:pt idx="4">
                  <c:v>7.1120000000000019</c:v>
                </c:pt>
                <c:pt idx="5">
                  <c:v>7.800000000000000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22-5559-47AC-8B00-24532FD148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55325392"/>
        <c:axId val="115600456"/>
      </c:barChart>
      <c:catAx>
        <c:axId val="15532539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15600456"/>
        <c:crosses val="min"/>
        <c:auto val="0"/>
        <c:lblAlgn val="ctr"/>
        <c:lblOffset val="100"/>
        <c:noMultiLvlLbl val="0"/>
      </c:catAx>
      <c:valAx>
        <c:axId val="115600456"/>
        <c:scaling>
          <c:orientation val="minMax"/>
          <c:max val="31.390999999999998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5532539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1512065530219173E-2"/>
          <c:y val="2.8681742967457253E-2"/>
          <c:w val="0.97697586893956168"/>
          <c:h val="0.9426365140650855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B1B1B1"/>
            </a:solidFill>
            <a:ln w="3175" algn="ctr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1.6547159404302261E-3"/>
                </c:manualLayout>
              </c:layout>
              <c:tx>
                <c:rich>
                  <a:bodyPr wrap="none"/>
                  <a:lstStyle/>
                  <a:p>
                    <a:pPr rtl="0">
                      <a:defRPr sz="14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Arial Black"/>
                      </a:defRPr>
                    </a:pPr>
                    <a:r>
                      <a:rPr lang="en-US" dirty="0"/>
                      <a:t>21.8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A5A5-43CD-94CA-DAFA23C7DA97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1"/>
              <c:layout>
                <c:manualLayout>
                  <c:x val="0"/>
                  <c:y val="-2.206287920573635E-3"/>
                </c:manualLayout>
              </c:layout>
              <c:tx>
                <c:rich>
                  <a:bodyPr wrap="none"/>
                  <a:lstStyle/>
                  <a:p>
                    <a:pPr rtl="0">
                      <a:defRPr sz="14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Arial Black"/>
                      </a:defRPr>
                    </a:pPr>
                    <a:r>
                      <a:rPr lang="en-US" dirty="0"/>
                      <a:t>24.6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A5A5-43CD-94CA-DAFA23C7DA97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2"/>
              <c:layout>
                <c:manualLayout>
                  <c:x val="0"/>
                  <c:y val="-1.6547159404302261E-3"/>
                </c:manualLayout>
              </c:layout>
              <c:tx>
                <c:rich>
                  <a:bodyPr wrap="none"/>
                  <a:lstStyle/>
                  <a:p>
                    <a:pPr rtl="0">
                      <a:defRPr sz="14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Arial Black"/>
                      </a:defRPr>
                    </a:pPr>
                    <a:r>
                      <a:rPr lang="en-US" dirty="0"/>
                      <a:t>22.9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A5A5-43CD-94CA-DAFA23C7DA97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3"/>
              <c:layout>
                <c:manualLayout>
                  <c:x val="0"/>
                  <c:y val="-1.6547159404302261E-3"/>
                </c:manualLayout>
              </c:layout>
              <c:tx>
                <c:rich>
                  <a:bodyPr wrap="none"/>
                  <a:lstStyle/>
                  <a:p>
                    <a:pPr rtl="0">
                      <a:defRPr sz="14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Arial Black"/>
                      </a:defRPr>
                    </a:pPr>
                    <a:r>
                      <a:rPr lang="en-US" dirty="0"/>
                      <a:t>21.4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A5A5-43CD-94CA-DAFA23C7DA97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4"/>
              <c:layout>
                <c:manualLayout>
                  <c:x val="0"/>
                  <c:y val="-1.6547159404302261E-3"/>
                </c:manualLayout>
              </c:layout>
              <c:tx>
                <c:rich>
                  <a:bodyPr wrap="none"/>
                  <a:lstStyle/>
                  <a:p>
                    <a:pPr rtl="0">
                      <a:defRPr sz="14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/>
                      <a:t>17.4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A5A5-43CD-94CA-DAFA23C7DA97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5"/>
              <c:layout>
                <c:manualLayout>
                  <c:x val="0"/>
                  <c:y val="-1.6547159404302261E-3"/>
                </c:manualLayout>
              </c:layout>
              <c:tx>
                <c:rich>
                  <a:bodyPr wrap="none"/>
                  <a:lstStyle/>
                  <a:p>
                    <a:pPr rtl="0">
                      <a:defRPr sz="14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+mn-lt"/>
                      </a:defRPr>
                    </a:pPr>
                    <a:r>
                      <a:rPr lang="en-US" dirty="0"/>
                      <a:t>18.5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A5A5-43CD-94CA-DAFA23C7DA97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F$1</c:f>
              <c:numCache>
                <c:formatCode>General</c:formatCode>
                <c:ptCount val="6"/>
                <c:pt idx="0">
                  <c:v>21.844000000000008</c:v>
                </c:pt>
                <c:pt idx="1">
                  <c:v>24.593000000000007</c:v>
                </c:pt>
                <c:pt idx="2">
                  <c:v>22.849999999999994</c:v>
                </c:pt>
                <c:pt idx="3">
                  <c:v>21.4</c:v>
                </c:pt>
                <c:pt idx="4">
                  <c:v>17.399999999999999</c:v>
                </c:pt>
                <c:pt idx="5">
                  <c:v>18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A5A5-43CD-94CA-DAFA23C7DA97}"/>
            </c:ext>
          </c:extLst>
        </c:ser>
        <c:ser>
          <c:idx val="1"/>
          <c:order val="1"/>
          <c:spPr>
            <a:solidFill>
              <a:srgbClr val="8E9ED1"/>
            </a:solidFill>
            <a:ln w="3175" algn="ctr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1.6547159404302261E-3"/>
                </c:manualLayout>
              </c:layout>
              <c:tx>
                <c:rich>
                  <a:bodyPr wrap="none"/>
                  <a:lstStyle/>
                  <a:p>
                    <a:pPr rtl="0">
                      <a:defRPr sz="14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Arial Black"/>
                      </a:defRPr>
                    </a:pPr>
                    <a:r>
                      <a:rPr lang="en-US" dirty="0"/>
                      <a:t>11.3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A5A5-43CD-94CA-DAFA23C7DA97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1"/>
              <c:layout>
                <c:manualLayout>
                  <c:x val="0"/>
                  <c:y val="-2.206287920573635E-3"/>
                </c:manualLayout>
              </c:layout>
              <c:tx>
                <c:rich>
                  <a:bodyPr wrap="none"/>
                  <a:lstStyle/>
                  <a:p>
                    <a:pPr rtl="0">
                      <a:defRPr sz="14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Arial Black"/>
                      </a:defRPr>
                    </a:pPr>
                    <a:r>
                      <a:rPr lang="en-US" dirty="0"/>
                      <a:t>13.0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8-A5A5-43CD-94CA-DAFA23C7DA97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2"/>
              <c:layout>
                <c:manualLayout>
                  <c:x val="0"/>
                  <c:y val="-1.6547159404302261E-3"/>
                </c:manualLayout>
              </c:layout>
              <c:tx>
                <c:rich>
                  <a:bodyPr wrap="none"/>
                  <a:lstStyle/>
                  <a:p>
                    <a:pPr rtl="0">
                      <a:defRPr sz="14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Arial Black"/>
                      </a:defRPr>
                    </a:pPr>
                    <a:r>
                      <a:rPr lang="en-US" dirty="0"/>
                      <a:t>12.6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9-A5A5-43CD-94CA-DAFA23C7DA97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3"/>
              <c:layout>
                <c:manualLayout>
                  <c:x val="0"/>
                  <c:y val="-1.6547159404302261E-3"/>
                </c:manualLayout>
              </c:layout>
              <c:tx>
                <c:rich>
                  <a:bodyPr wrap="none"/>
                  <a:lstStyle/>
                  <a:p>
                    <a:pPr rtl="0">
                      <a:defRPr sz="14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Arial Black"/>
                      </a:defRPr>
                    </a:pPr>
                    <a:r>
                      <a:rPr lang="en-US" dirty="0"/>
                      <a:t>9.3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A-A5A5-43CD-94CA-DAFA23C7DA97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5"/>
              <c:layout>
                <c:manualLayout>
                  <c:x val="0"/>
                  <c:y val="-1.6547159404302261E-3"/>
                </c:manualLayout>
              </c:layout>
              <c:tx>
                <c:rich>
                  <a:bodyPr wrap="none"/>
                  <a:lstStyle/>
                  <a:p>
                    <a:pPr rtl="0">
                      <a:defRPr sz="14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/>
                      <a:t>7.1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B-A5A5-43CD-94CA-DAFA23C7DA97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F$2</c:f>
              <c:numCache>
                <c:formatCode>General</c:formatCode>
                <c:ptCount val="6"/>
                <c:pt idx="0">
                  <c:v>11.314999999999998</c:v>
                </c:pt>
                <c:pt idx="1">
                  <c:v>13.032</c:v>
                </c:pt>
                <c:pt idx="2">
                  <c:v>12.603000000000002</c:v>
                </c:pt>
                <c:pt idx="3">
                  <c:v>9.3000000000000007</c:v>
                </c:pt>
                <c:pt idx="4">
                  <c:v>6.1999999999999993</c:v>
                </c:pt>
                <c:pt idx="5">
                  <c:v>7.100000000000001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C-A5A5-43CD-94CA-DAFA23C7DA97}"/>
            </c:ext>
          </c:extLst>
        </c:ser>
        <c:ser>
          <c:idx val="2"/>
          <c:order val="2"/>
          <c:spPr>
            <a:solidFill>
              <a:srgbClr val="555454"/>
            </a:solidFill>
            <a:ln w="3175" algn="ctr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1"/>
              <c:layout>
                <c:manualLayout>
                  <c:x val="0"/>
                  <c:y val="-1.6547159404302261E-3"/>
                </c:manualLayout>
              </c:layout>
              <c:tx>
                <c:rich>
                  <a:bodyPr wrap="none"/>
                  <a:lstStyle/>
                  <a:p>
                    <a:pPr rtl="0">
                      <a:defRPr sz="1400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  <a:sym typeface="Arial Black"/>
                      </a:defRPr>
                    </a:pPr>
                    <a:r>
                      <a:rPr lang="en-US" dirty="0"/>
                      <a:t>7.6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D-A5A5-43CD-94CA-DAFA23C7DA97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2"/>
              <c:layout>
                <c:manualLayout>
                  <c:x val="0"/>
                  <c:y val="-1.6547159404302261E-3"/>
                </c:manualLayout>
              </c:layout>
              <c:tx>
                <c:rich>
                  <a:bodyPr wrap="none"/>
                  <a:lstStyle/>
                  <a:p>
                    <a:pPr rtl="0">
                      <a:defRPr sz="1400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  <a:sym typeface="Arial Black"/>
                      </a:defRPr>
                    </a:pPr>
                    <a:r>
                      <a:rPr lang="en-US" dirty="0"/>
                      <a:t>9.2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E-A5A5-43CD-94CA-DAFA23C7DA97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3"/>
              <c:layout>
                <c:manualLayout>
                  <c:x val="0"/>
                  <c:y val="-1.6547159404302261E-3"/>
                </c:manualLayout>
              </c:layout>
              <c:tx>
                <c:rich>
                  <a:bodyPr wrap="none"/>
                  <a:lstStyle/>
                  <a:p>
                    <a:pPr rtl="0">
                      <a:defRPr sz="1400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  <a:sym typeface="Arial Black"/>
                      </a:defRPr>
                    </a:pPr>
                    <a:r>
                      <a:rPr lang="en-US" dirty="0"/>
                      <a:t>9.5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F-A5A5-43CD-94CA-DAFA23C7DA97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4"/>
              <c:layout>
                <c:manualLayout>
                  <c:x val="0"/>
                  <c:y val="-1.6547159404302261E-3"/>
                </c:manualLayout>
              </c:layout>
              <c:tx>
                <c:rich>
                  <a:bodyPr wrap="none"/>
                  <a:lstStyle/>
                  <a:p>
                    <a:pPr rtl="0">
                      <a:defRPr sz="1400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  <a:sym typeface="Arial Black"/>
                      </a:defRPr>
                    </a:pPr>
                    <a:r>
                      <a:rPr lang="en-US" dirty="0"/>
                      <a:t>9.7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0-A5A5-43CD-94CA-DAFA23C7DA97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5"/>
              <c:layout>
                <c:manualLayout>
                  <c:x val="0"/>
                  <c:y val="-1.6547159404302261E-3"/>
                </c:manualLayout>
              </c:layout>
              <c:tx>
                <c:rich>
                  <a:bodyPr wrap="none"/>
                  <a:lstStyle/>
                  <a:p>
                    <a:pPr rtl="0">
                      <a:defRPr sz="1400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  <a:sym typeface="Arial Black"/>
                      </a:defRPr>
                    </a:pPr>
                    <a:r>
                      <a:rPr lang="en-US" dirty="0"/>
                      <a:t>10.0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1-A5A5-43CD-94CA-DAFA23C7DA97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F$3</c:f>
              <c:numCache>
                <c:formatCode>General</c:formatCode>
                <c:ptCount val="6"/>
                <c:pt idx="0">
                  <c:v>6.472999999999999</c:v>
                </c:pt>
                <c:pt idx="1">
                  <c:v>7.6049999999999969</c:v>
                </c:pt>
                <c:pt idx="2">
                  <c:v>9.2449999999999974</c:v>
                </c:pt>
                <c:pt idx="3">
                  <c:v>9.5000000000000036</c:v>
                </c:pt>
                <c:pt idx="4">
                  <c:v>9.6999999999999993</c:v>
                </c:pt>
                <c:pt idx="5">
                  <c:v>1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2-A5A5-43CD-94CA-DAFA23C7DA97}"/>
            </c:ext>
          </c:extLst>
        </c:ser>
        <c:ser>
          <c:idx val="3"/>
          <c:order val="3"/>
          <c:spPr>
            <a:solidFill>
              <a:srgbClr val="4E72B7"/>
            </a:solidFill>
            <a:ln w="3175" algn="ctr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2.206287920573635E-3"/>
                </c:manualLayout>
              </c:layout>
              <c:tx>
                <c:rich>
                  <a:bodyPr wrap="none"/>
                  <a:lstStyle/>
                  <a:p>
                    <a:pPr rtl="0">
                      <a:defRPr sz="1400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  <a:sym typeface="Arial Black"/>
                      </a:defRPr>
                    </a:pPr>
                    <a:r>
                      <a:rPr lang="en-US" dirty="0"/>
                      <a:t>18.2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3-A5A5-43CD-94CA-DAFA23C7DA97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1"/>
              <c:layout>
                <c:manualLayout>
                  <c:x val="0"/>
                  <c:y val="-1.6547159404302261E-3"/>
                </c:manualLayout>
              </c:layout>
              <c:tx>
                <c:rich>
                  <a:bodyPr wrap="none"/>
                  <a:lstStyle/>
                  <a:p>
                    <a:pPr rtl="0">
                      <a:defRPr sz="1400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  <a:sym typeface="Arial Black"/>
                      </a:defRPr>
                    </a:pPr>
                    <a:r>
                      <a:rPr lang="en-US" dirty="0"/>
                      <a:t>22.2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4-A5A5-43CD-94CA-DAFA23C7DA97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2"/>
              <c:layout>
                <c:manualLayout>
                  <c:x val="0"/>
                  <c:y val="-2.206287920573635E-3"/>
                </c:manualLayout>
              </c:layout>
              <c:tx>
                <c:rich>
                  <a:bodyPr wrap="none"/>
                  <a:lstStyle/>
                  <a:p>
                    <a:pPr rtl="0">
                      <a:defRPr sz="1400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  <a:sym typeface="Arial Black"/>
                      </a:defRPr>
                    </a:pPr>
                    <a:r>
                      <a:rPr lang="en-US" dirty="0"/>
                      <a:t>26.0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5-A5A5-43CD-94CA-DAFA23C7DA97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3"/>
              <c:layout>
                <c:manualLayout>
                  <c:x val="0"/>
                  <c:y val="-1.6547159404302261E-3"/>
                </c:manualLayout>
              </c:layout>
              <c:tx>
                <c:rich>
                  <a:bodyPr wrap="none"/>
                  <a:lstStyle/>
                  <a:p>
                    <a:pPr rtl="0">
                      <a:defRPr sz="1400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  <a:sym typeface="Arial Black"/>
                      </a:defRPr>
                    </a:pPr>
                    <a:r>
                      <a:rPr lang="en-US" dirty="0"/>
                      <a:t>20.4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6-A5A5-43CD-94CA-DAFA23C7DA97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4"/>
              <c:layout>
                <c:manualLayout>
                  <c:x val="0"/>
                  <c:y val="-2.206287920573635E-3"/>
                </c:manualLayout>
              </c:layout>
              <c:tx>
                <c:rich>
                  <a:bodyPr wrap="none"/>
                  <a:lstStyle/>
                  <a:p>
                    <a:pPr rtl="0">
                      <a:defRPr sz="1400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  <a:sym typeface="Arial Black"/>
                      </a:defRPr>
                    </a:pPr>
                    <a:r>
                      <a:rPr lang="en-US" dirty="0"/>
                      <a:t>17.9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7-A5A5-43CD-94CA-DAFA23C7DA97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5"/>
              <c:layout>
                <c:manualLayout>
                  <c:x val="0"/>
                  <c:y val="-1.6547159404302261E-3"/>
                </c:manualLayout>
              </c:layout>
              <c:tx>
                <c:rich>
                  <a:bodyPr wrap="none"/>
                  <a:lstStyle/>
                  <a:p>
                    <a:pPr rtl="0">
                      <a:defRPr sz="1400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  <a:sym typeface="Arial Black"/>
                      </a:defRPr>
                    </a:pPr>
                    <a:r>
                      <a:rPr lang="en-US" dirty="0"/>
                      <a:t>19.8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8-A5A5-43CD-94CA-DAFA23C7DA97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F$4</c:f>
              <c:numCache>
                <c:formatCode>General</c:formatCode>
                <c:ptCount val="6"/>
                <c:pt idx="0">
                  <c:v>18.173000000000002</c:v>
                </c:pt>
                <c:pt idx="1">
                  <c:v>22.161000000000001</c:v>
                </c:pt>
                <c:pt idx="2">
                  <c:v>26.013999999999996</c:v>
                </c:pt>
                <c:pt idx="3">
                  <c:v>20.399999999999999</c:v>
                </c:pt>
                <c:pt idx="4">
                  <c:v>17.899999999999999</c:v>
                </c:pt>
                <c:pt idx="5">
                  <c:v>19.80000000000000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9-A5A5-43CD-94CA-DAFA23C7DA97}"/>
            </c:ext>
          </c:extLst>
        </c:ser>
        <c:ser>
          <c:idx val="4"/>
          <c:order val="4"/>
          <c:spPr>
            <a:solidFill>
              <a:srgbClr val="004F9F"/>
            </a:solidFill>
            <a:ln w="3175" algn="ctr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1.6547159404302261E-3"/>
                </c:manualLayout>
              </c:layout>
              <c:tx>
                <c:rich>
                  <a:bodyPr wrap="none"/>
                  <a:lstStyle/>
                  <a:p>
                    <a:pPr rtl="0">
                      <a:defRPr sz="1400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/>
                      <a:t>53.7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A-A5A5-43CD-94CA-DAFA23C7DA97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2"/>
              <c:layout>
                <c:manualLayout>
                  <c:x val="0"/>
                  <c:y val="-2.206287920573635E-3"/>
                </c:manualLayout>
              </c:layout>
              <c:tx>
                <c:rich>
                  <a:bodyPr wrap="none"/>
                  <a:lstStyle/>
                  <a:p>
                    <a:pPr rtl="0">
                      <a:defRPr sz="1400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  <a:sym typeface="Arial Black"/>
                      </a:defRPr>
                    </a:pPr>
                    <a:r>
                      <a:rPr lang="en-US" dirty="0"/>
                      <a:t>51.2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B-A5A5-43CD-94CA-DAFA23C7DA97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3"/>
              <c:layout>
                <c:manualLayout>
                  <c:x val="0"/>
                  <c:y val="-1.6547159404302261E-3"/>
                </c:manualLayout>
              </c:layout>
              <c:tx>
                <c:rich>
                  <a:bodyPr wrap="none"/>
                  <a:lstStyle/>
                  <a:p>
                    <a:pPr rtl="0">
                      <a:defRPr sz="1400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/>
                      <a:t>47.9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C-A5A5-43CD-94CA-DAFA23C7DA97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4"/>
              <c:layout>
                <c:manualLayout>
                  <c:x val="0"/>
                  <c:y val="-1.6547159404302261E-3"/>
                </c:manualLayout>
              </c:layout>
              <c:tx>
                <c:rich>
                  <a:bodyPr wrap="none"/>
                  <a:lstStyle/>
                  <a:p>
                    <a:pPr rtl="0">
                      <a:defRPr sz="1400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  <a:sym typeface="Arial Black"/>
                      </a:defRPr>
                    </a:pPr>
                    <a:r>
                      <a:rPr lang="en-US" dirty="0"/>
                      <a:t>42.5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D-A5A5-43CD-94CA-DAFA23C7DA97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5"/>
              <c:layout>
                <c:manualLayout>
                  <c:x val="0"/>
                  <c:y val="-1.6547159404302261E-3"/>
                </c:manualLayout>
              </c:layout>
              <c:tx>
                <c:rich>
                  <a:bodyPr wrap="none"/>
                  <a:lstStyle/>
                  <a:p>
                    <a:pPr rtl="0">
                      <a:defRPr sz="1400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  <a:sym typeface="Arial Black"/>
                      </a:defRPr>
                    </a:pPr>
                    <a:r>
                      <a:rPr lang="en-US" dirty="0"/>
                      <a:t>46.2</a:t>
                    </a:r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E-A5A5-43CD-94CA-DAFA23C7DA97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5:$F$5</c:f>
              <c:numCache>
                <c:formatCode>General</c:formatCode>
                <c:ptCount val="6"/>
                <c:pt idx="0">
                  <c:v>53.69</c:v>
                </c:pt>
                <c:pt idx="1">
                  <c:v>51.75</c:v>
                </c:pt>
                <c:pt idx="2">
                  <c:v>51.162000000000006</c:v>
                </c:pt>
                <c:pt idx="3">
                  <c:v>47.9</c:v>
                </c:pt>
                <c:pt idx="4">
                  <c:v>42.499999999999993</c:v>
                </c:pt>
                <c:pt idx="5">
                  <c:v>46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F-A5A5-43CD-94CA-DAFA23C7DA9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55729080"/>
        <c:axId val="154060448"/>
      </c:barChart>
      <c:catAx>
        <c:axId val="15572908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54060448"/>
        <c:crosses val="min"/>
        <c:auto val="0"/>
        <c:lblAlgn val="ctr"/>
        <c:lblOffset val="100"/>
        <c:noMultiLvlLbl val="0"/>
      </c:catAx>
      <c:valAx>
        <c:axId val="154060448"/>
        <c:scaling>
          <c:orientation val="minMax"/>
          <c:max val="121.874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5572908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1853202644175975E-2"/>
          <c:y val="2.6289180990899899E-2"/>
          <c:w val="0.97629359471164801"/>
          <c:h val="0.9474216380182002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CAC9C9"/>
            </a:solidFill>
            <a:ln w="12700" algn="ctr">
              <a:solidFill>
                <a:schemeClr val="tx1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solidFill>
                <a:srgbClr val="004F9F"/>
              </a:solidFill>
              <a:ln w="12700" algn="ctr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A5D4-4BF8-833A-A1AD71929114}"/>
              </c:ext>
            </c:extLst>
          </c:dPt>
          <c:val>
            <c:numRef>
              <c:f>Sheet1!$A$1:$F$1</c:f>
              <c:numCache>
                <c:formatCode>General</c:formatCode>
                <c:ptCount val="6"/>
                <c:pt idx="0">
                  <c:v>4372</c:v>
                </c:pt>
                <c:pt idx="1">
                  <c:v>4689.1000000000004</c:v>
                </c:pt>
                <c:pt idx="2">
                  <c:v>5183</c:v>
                </c:pt>
                <c:pt idx="3">
                  <c:v>4781.6000000000004</c:v>
                </c:pt>
                <c:pt idx="4">
                  <c:v>4075.6</c:v>
                </c:pt>
                <c:pt idx="5">
                  <c:v>4266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A5D4-4BF8-833A-A1AD7192911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54061232"/>
        <c:axId val="154062016"/>
      </c:barChart>
      <c:catAx>
        <c:axId val="15406123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54062016"/>
        <c:crosses val="min"/>
        <c:auto val="0"/>
        <c:lblAlgn val="ctr"/>
        <c:lblOffset val="100"/>
        <c:noMultiLvlLbl val="0"/>
      </c:catAx>
      <c:valAx>
        <c:axId val="154062016"/>
        <c:scaling>
          <c:orientation val="minMax"/>
          <c:max val="518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5406123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5157894736842106"/>
          <c:y val="2.8888888888888888E-2"/>
          <c:w val="0.69614035087719295"/>
          <c:h val="0.9422222222222221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3786DE"/>
            </a:solidFill>
            <a:ln w="3175" algn="ctr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 rtl="0">
                    <a:defRPr sz="1200" kern="1200">
                      <a:solidFill>
                        <a:schemeClr val="bg1"/>
                      </a:solidFill>
                      <a:latin typeface="Arial Black"/>
                      <a:ea typeface="+mn-ea"/>
                      <a:cs typeface="+mn-cs"/>
                      <a:sym typeface="Arial Black"/>
                    </a:defRPr>
                  </a:pPr>
                  <a:endParaRPr lang="pl-P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FA90-42BC-8C42-ED42AE931903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 rtl="0">
                    <a:defRPr sz="1200" kern="1200">
                      <a:solidFill>
                        <a:schemeClr val="bg1"/>
                      </a:solidFill>
                      <a:latin typeface="Arial Black"/>
                      <a:ea typeface="+mn-ea"/>
                      <a:cs typeface="+mn-cs"/>
                      <a:sym typeface="Arial Black"/>
                    </a:defRPr>
                  </a:pPr>
                  <a:endParaRPr lang="pl-P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FA90-42BC-8C42-ED42AE931903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34.542686794367626</c:v>
                </c:pt>
                <c:pt idx="1">
                  <c:v>3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FA90-42BC-8C42-ED42AE931903}"/>
            </c:ext>
          </c:extLst>
        </c:ser>
        <c:ser>
          <c:idx val="1"/>
          <c:order val="1"/>
          <c:spPr>
            <a:solidFill>
              <a:srgbClr val="004F9F"/>
            </a:solidFill>
            <a:ln w="3175" algn="ctr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 rtl="0">
                    <a:defRPr sz="1200" kern="1200">
                      <a:solidFill>
                        <a:schemeClr val="bg1"/>
                      </a:solidFill>
                      <a:latin typeface="Arial Black"/>
                      <a:ea typeface="+mn-ea"/>
                      <a:cs typeface="+mn-cs"/>
                    </a:defRPr>
                  </a:pPr>
                  <a:endParaRPr lang="pl-P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FA90-42BC-8C42-ED42AE931903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1"/>
              <c:layout>
                <c:manualLayout>
                  <c:x val="0"/>
                  <c:y val="-5.5555555555555556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 rtl="0">
                    <a:defRPr sz="1200" kern="1200">
                      <a:solidFill>
                        <a:schemeClr val="bg1"/>
                      </a:solidFill>
                      <a:latin typeface="Arial Black"/>
                      <a:ea typeface="+mn-ea"/>
                      <a:cs typeface="+mn-cs"/>
                    </a:defRPr>
                  </a:pPr>
                  <a:endParaRPr lang="pl-P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FA90-42BC-8C42-ED42AE931903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B$2</c:f>
              <c:numCache>
                <c:formatCode>General</c:formatCode>
                <c:ptCount val="2"/>
                <c:pt idx="0">
                  <c:v>137.79440991162417</c:v>
                </c:pt>
                <c:pt idx="1">
                  <c:v>131.6999999999999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FA90-42BC-8C42-ED42AE9319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24771968"/>
        <c:axId val="224768048"/>
      </c:barChart>
      <c:catAx>
        <c:axId val="22477196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rgbClr val="000000"/>
            </a:solidFill>
            <a:prstDash val="solid"/>
          </a:ln>
        </c:spPr>
        <c:crossAx val="224768048"/>
        <c:crosses val="min"/>
        <c:auto val="0"/>
        <c:lblAlgn val="ctr"/>
        <c:lblOffset val="100"/>
        <c:noMultiLvlLbl val="0"/>
      </c:catAx>
      <c:valAx>
        <c:axId val="224768048"/>
        <c:scaling>
          <c:orientation val="minMax"/>
          <c:max val="185.4454733815383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2477196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6776519052523172E-2"/>
          <c:y val="2.9246344206974129E-2"/>
          <c:w val="0.9464469618949537"/>
          <c:h val="0.9415073115860517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555454"/>
            </a:solidFill>
            <a:ln w="3175" algn="ctr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5.6242969628796406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 rtl="0">
                    <a:defRPr sz="1200" kern="1200">
                      <a:solidFill>
                        <a:schemeClr val="bg1"/>
                      </a:solidFill>
                      <a:latin typeface="Arial Black"/>
                      <a:ea typeface="+mn-ea"/>
                      <a:cs typeface="+mn-cs"/>
                    </a:defRPr>
                  </a:pPr>
                  <a:endParaRPr lang="pl-P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A3D8-4A39-A3A3-49257EBC5116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1"/>
              <c:layout>
                <c:manualLayout>
                  <c:x val="0"/>
                  <c:y val="-5.6242969628796406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 rtl="0">
                    <a:defRPr sz="1200" kern="1200">
                      <a:solidFill>
                        <a:schemeClr val="bg1"/>
                      </a:solidFill>
                      <a:latin typeface="Arial Black"/>
                      <a:ea typeface="+mn-ea"/>
                      <a:cs typeface="+mn-cs"/>
                    </a:defRPr>
                  </a:pPr>
                  <a:endParaRPr lang="pl-P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A3D8-4A39-A3A3-49257EBC5116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11.188633768869721</c:v>
                </c:pt>
                <c:pt idx="1">
                  <c:v>12.0742187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A3D8-4A39-A3A3-49257EBC5116}"/>
            </c:ext>
          </c:extLst>
        </c:ser>
        <c:ser>
          <c:idx val="1"/>
          <c:order val="1"/>
          <c:spPr>
            <a:solidFill>
              <a:srgbClr val="868685"/>
            </a:solidFill>
            <a:ln w="3175" algn="ctr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 rtl="0">
                    <a:defRPr sz="1200" kern="1200">
                      <a:solidFill>
                        <a:schemeClr val="bg1"/>
                      </a:solidFill>
                      <a:latin typeface="Arial Black"/>
                      <a:ea typeface="+mn-ea"/>
                      <a:cs typeface="+mn-cs"/>
                      <a:sym typeface="Arial Black"/>
                    </a:defRPr>
                  </a:pPr>
                  <a:endParaRPr lang="pl-P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A3D8-4A39-A3A3-49257EBC5116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 rtl="0">
                    <a:defRPr sz="1200" kern="1200">
                      <a:solidFill>
                        <a:schemeClr val="bg1"/>
                      </a:solidFill>
                      <a:latin typeface="Arial Black"/>
                      <a:ea typeface="+mn-ea"/>
                      <a:cs typeface="+mn-cs"/>
                      <a:sym typeface="Arial Black"/>
                    </a:defRPr>
                  </a:pPr>
                  <a:endParaRPr lang="pl-P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A3D8-4A39-A3A3-49257EBC5116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C$2</c:f>
              <c:numCache>
                <c:formatCode>General</c:formatCode>
                <c:ptCount val="3"/>
                <c:pt idx="0">
                  <c:v>29.865956277221024</c:v>
                </c:pt>
                <c:pt idx="1">
                  <c:v>29.867187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A3D8-4A39-A3A3-49257EBC5116}"/>
            </c:ext>
          </c:extLst>
        </c:ser>
        <c:ser>
          <c:idx val="2"/>
          <c:order val="2"/>
          <c:spPr>
            <a:solidFill>
              <a:srgbClr val="A0A09F"/>
            </a:solidFill>
            <a:ln w="3175" algn="ctr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 rtl="0">
                    <a:defRPr sz="1200" kern="1200">
                      <a:solidFill>
                        <a:schemeClr val="tx1"/>
                      </a:solidFill>
                      <a:latin typeface="Arial Black"/>
                      <a:ea typeface="+mn-ea"/>
                      <a:cs typeface="+mn-cs"/>
                      <a:sym typeface="Arial Black"/>
                    </a:defRPr>
                  </a:pPr>
                  <a:endParaRPr lang="pl-P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6-A3D8-4A39-A3A3-49257EBC5116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 rtl="0">
                    <a:defRPr sz="1200" kern="1200">
                      <a:solidFill>
                        <a:schemeClr val="tx1"/>
                      </a:solidFill>
                      <a:latin typeface="Arial Black"/>
                      <a:ea typeface="+mn-ea"/>
                      <a:cs typeface="+mn-cs"/>
                      <a:sym typeface="Arial Black"/>
                    </a:defRPr>
                  </a:pPr>
                  <a:endParaRPr lang="pl-P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A3D8-4A39-A3A3-49257EBC5116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C$3</c:f>
              <c:numCache>
                <c:formatCode>General</c:formatCode>
                <c:ptCount val="3"/>
                <c:pt idx="0">
                  <c:v>32.41574696604507</c:v>
                </c:pt>
                <c:pt idx="1">
                  <c:v>28.20312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A3D8-4A39-A3A3-49257EBC5116}"/>
            </c:ext>
          </c:extLst>
        </c:ser>
        <c:ser>
          <c:idx val="3"/>
          <c:order val="3"/>
          <c:spPr>
            <a:solidFill>
              <a:srgbClr val="BAB9B9"/>
            </a:solidFill>
            <a:ln w="3175" algn="ctr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 rtl="0">
                    <a:defRPr sz="1200" kern="1200">
                      <a:solidFill>
                        <a:schemeClr val="tx1"/>
                      </a:solidFill>
                      <a:latin typeface="Arial Black"/>
                      <a:ea typeface="+mn-ea"/>
                      <a:cs typeface="+mn-cs"/>
                    </a:defRPr>
                  </a:pPr>
                  <a:endParaRPr lang="pl-P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9-A3D8-4A39-A3A3-49257EBC5116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 rtl="0">
                    <a:defRPr sz="1200" kern="1200">
                      <a:solidFill>
                        <a:schemeClr val="tx1"/>
                      </a:solidFill>
                      <a:latin typeface="Arial Black"/>
                      <a:ea typeface="+mn-ea"/>
                      <a:cs typeface="+mn-cs"/>
                      <a:sym typeface="Arial Black"/>
                    </a:defRPr>
                  </a:pPr>
                  <a:endParaRPr lang="pl-P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A-A3D8-4A39-A3A3-49257EBC5116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C$4</c:f>
              <c:numCache>
                <c:formatCode>General</c:formatCode>
                <c:ptCount val="3"/>
                <c:pt idx="0">
                  <c:v>21.874075013742655</c:v>
                </c:pt>
                <c:pt idx="1">
                  <c:v>20.70312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B-A3D8-4A39-A3A3-49257EBC5116}"/>
            </c:ext>
          </c:extLst>
        </c:ser>
        <c:ser>
          <c:idx val="4"/>
          <c:order val="4"/>
          <c:spPr>
            <a:solidFill>
              <a:srgbClr val="CAC9C9"/>
            </a:solidFill>
            <a:ln w="3175" algn="ctr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 rtl="0">
                    <a:defRPr sz="1200" kern="1200">
                      <a:solidFill>
                        <a:schemeClr val="tx1"/>
                      </a:solidFill>
                      <a:latin typeface="Arial Black"/>
                      <a:ea typeface="+mn-ea"/>
                      <a:cs typeface="+mn-cs"/>
                      <a:sym typeface="Arial Black"/>
                    </a:defRPr>
                  </a:pPr>
                  <a:endParaRPr lang="pl-P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C-A3D8-4A39-A3A3-49257EBC5116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 rtl="0">
                    <a:defRPr sz="1200" kern="1200">
                      <a:solidFill>
                        <a:schemeClr val="tx1"/>
                      </a:solidFill>
                      <a:latin typeface="Arial Black"/>
                      <a:ea typeface="+mn-ea"/>
                      <a:cs typeface="+mn-cs"/>
                      <a:sym typeface="Arial Black"/>
                    </a:defRPr>
                  </a:pPr>
                  <a:endParaRPr lang="pl-P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D-A3D8-4A39-A3A3-49257EBC5116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5:$C$5</c:f>
              <c:numCache>
                <c:formatCode>General</c:formatCode>
                <c:ptCount val="3"/>
                <c:pt idx="0">
                  <c:v>20.833861896908957</c:v>
                </c:pt>
                <c:pt idx="1">
                  <c:v>21.492187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E-A3D8-4A39-A3A3-49257EBC5116}"/>
            </c:ext>
          </c:extLst>
        </c:ser>
        <c:ser>
          <c:idx val="5"/>
          <c:order val="5"/>
          <c:spPr>
            <a:solidFill>
              <a:srgbClr val="F2F2F2"/>
            </a:solidFill>
            <a:ln w="3175" algn="ctr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5.6242969628796406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 rtl="0">
                    <a:defRPr sz="1200" kern="1200">
                      <a:solidFill>
                        <a:schemeClr val="tx1"/>
                      </a:solidFill>
                      <a:latin typeface="Arial Black"/>
                      <a:ea typeface="+mn-ea"/>
                      <a:cs typeface="+mn-cs"/>
                    </a:defRPr>
                  </a:pPr>
                  <a:endParaRPr lang="pl-P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F-A3D8-4A39-A3A3-49257EBC5116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 rtl="0">
                    <a:defRPr sz="1200" kern="1200">
                      <a:solidFill>
                        <a:schemeClr val="tx1"/>
                      </a:solidFill>
                      <a:latin typeface="Arial Black"/>
                      <a:ea typeface="+mn-ea"/>
                      <a:cs typeface="+mn-cs"/>
                    </a:defRPr>
                  </a:pPr>
                  <a:endParaRPr lang="pl-P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0-A3D8-4A39-A3A3-49257EBC5116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6:$C$6</c:f>
              <c:numCache>
                <c:formatCode>General</c:formatCode>
                <c:ptCount val="3"/>
                <c:pt idx="0">
                  <c:v>69.267199458750881</c:v>
                </c:pt>
                <c:pt idx="1">
                  <c:v>63.35937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1-A3D8-4A39-A3A3-49257EBC511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24773144"/>
        <c:axId val="224775496"/>
      </c:barChart>
      <c:catAx>
        <c:axId val="22477314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rgbClr val="000000"/>
            </a:solidFill>
            <a:prstDash val="solid"/>
          </a:ln>
        </c:spPr>
        <c:crossAx val="224775496"/>
        <c:crosses val="min"/>
        <c:auto val="0"/>
        <c:lblAlgn val="ctr"/>
        <c:lblOffset val="100"/>
        <c:noMultiLvlLbl val="0"/>
      </c:catAx>
      <c:valAx>
        <c:axId val="224775496"/>
        <c:scaling>
          <c:orientation val="minMax"/>
          <c:max val="185.4454733815383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2477314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4441687344913151"/>
          <c:y val="3.9573820395738202E-2"/>
          <c:w val="0.7106699751861042"/>
          <c:h val="0.920852359208523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04F9F"/>
            </a:solidFill>
            <a:ln w="3175" algn="ctr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3.0441400304414001E-3"/>
                </c:manualLayout>
              </c:layout>
              <c:tx>
                <c:rich>
                  <a:bodyPr wrap="none"/>
                  <a:lstStyle/>
                  <a:p>
                    <a:pPr rtl="0">
                      <a:defRPr sz="1400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/>
                      <a:t>15,771</a:t>
                    </a:r>
                  </a:p>
                </c:rich>
              </c:tx>
              <c:numFmt formatCode="#,##0;&quot;-&quot;#,##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E875-4701-9D08-ECD2B018DEE1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1"/>
              <c:layout>
                <c:manualLayout>
                  <c:x val="0"/>
                  <c:y val="-3.0441400304414001E-3"/>
                </c:manualLayout>
              </c:layout>
              <c:tx>
                <c:rich>
                  <a:bodyPr wrap="none"/>
                  <a:lstStyle/>
                  <a:p>
                    <a:pPr rtl="0">
                      <a:defRPr sz="1400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  <a:sym typeface="+mn-lt"/>
                      </a:defRPr>
                    </a:pPr>
                    <a:r>
                      <a:rPr lang="en-US" dirty="0"/>
                      <a:t>14,728</a:t>
                    </a:r>
                  </a:p>
                </c:rich>
              </c:tx>
              <c:numFmt formatCode="#,##0;&quot;-&quot;#,##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E875-4701-9D08-ECD2B018DEE1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15771</c:v>
                </c:pt>
                <c:pt idx="1">
                  <c:v>1472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E875-4701-9D08-ECD2B018DEE1}"/>
            </c:ext>
          </c:extLst>
        </c:ser>
        <c:ser>
          <c:idx val="1"/>
          <c:order val="1"/>
          <c:spPr>
            <a:solidFill>
              <a:srgbClr val="8E9ED1"/>
            </a:solidFill>
            <a:ln w="3175" algn="ctr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3.0441400304414001E-3"/>
                </c:manualLayout>
              </c:layout>
              <c:tx>
                <c:rich>
                  <a:bodyPr wrap="none"/>
                  <a:lstStyle/>
                  <a:p>
                    <a:pPr rtl="0">
                      <a:defRPr sz="14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+mn-lt"/>
                      </a:defRPr>
                    </a:pPr>
                    <a:r>
                      <a:rPr lang="en-US" dirty="0"/>
                      <a:t>5,995</a:t>
                    </a:r>
                  </a:p>
                </c:rich>
              </c:tx>
              <c:numFmt formatCode="#,##0;&quot;-&quot;#,##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E875-4701-9D08-ECD2B018DEE1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1"/>
              <c:layout>
                <c:manualLayout>
                  <c:x val="0"/>
                  <c:y val="-2.2831050228310501E-3"/>
                </c:manualLayout>
              </c:layout>
              <c:tx>
                <c:rich>
                  <a:bodyPr wrap="none"/>
                  <a:lstStyle/>
                  <a:p>
                    <a:pPr rtl="0">
                      <a:defRPr sz="14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+mn-lt"/>
                      </a:defRPr>
                    </a:pPr>
                    <a:r>
                      <a:rPr lang="en-US" dirty="0"/>
                      <a:t>5,834</a:t>
                    </a:r>
                  </a:p>
                </c:rich>
              </c:tx>
              <c:numFmt formatCode="#,##0;&quot;-&quot;#,##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E875-4701-9D08-ECD2B018DEE1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B$2</c:f>
              <c:numCache>
                <c:formatCode>General</c:formatCode>
                <c:ptCount val="2"/>
                <c:pt idx="0">
                  <c:v>5995</c:v>
                </c:pt>
                <c:pt idx="1">
                  <c:v>583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E875-4701-9D08-ECD2B018DEE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24769224"/>
        <c:axId val="224772360"/>
      </c:barChart>
      <c:catAx>
        <c:axId val="22476922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224772360"/>
        <c:crosses val="min"/>
        <c:auto val="0"/>
        <c:lblAlgn val="ctr"/>
        <c:lblOffset val="100"/>
        <c:noMultiLvlLbl val="0"/>
      </c:catAx>
      <c:valAx>
        <c:axId val="224772360"/>
        <c:scaling>
          <c:orientation val="minMax"/>
          <c:max val="2176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2476922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2542209358417752E-2"/>
          <c:y val="2.6289180990899899E-2"/>
          <c:w val="0.97491558128316447"/>
          <c:h val="0.9474216380182002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04F9F"/>
            </a:solidFill>
            <a:ln w="12700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1:$F$1</c:f>
              <c:numCache>
                <c:formatCode>General</c:formatCode>
                <c:ptCount val="6"/>
                <c:pt idx="0">
                  <c:v>490000</c:v>
                </c:pt>
                <c:pt idx="1">
                  <c:v>700000</c:v>
                </c:pt>
                <c:pt idx="2">
                  <c:v>907000</c:v>
                </c:pt>
                <c:pt idx="3">
                  <c:v>860000</c:v>
                </c:pt>
                <c:pt idx="4">
                  <c:v>580000</c:v>
                </c:pt>
                <c:pt idx="5">
                  <c:v>51320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DA8A-4EF1-AC63-0C619C2480C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24770008"/>
        <c:axId val="224768440"/>
      </c:barChart>
      <c:catAx>
        <c:axId val="22477000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224768440"/>
        <c:crosses val="min"/>
        <c:auto val="0"/>
        <c:lblAlgn val="ctr"/>
        <c:lblOffset val="100"/>
        <c:noMultiLvlLbl val="0"/>
      </c:catAx>
      <c:valAx>
        <c:axId val="224768440"/>
        <c:scaling>
          <c:orientation val="minMax"/>
          <c:max val="9070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2477000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3526756931012251E-2"/>
          <c:y val="3.3526756931012251E-2"/>
          <c:w val="0.93294648613797548"/>
          <c:h val="0.93294648613797548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004F9F"/>
              </a:solidFill>
              <a:ln w="6350" algn="ctr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844B-47CB-BF33-A69044007445}"/>
              </c:ext>
            </c:extLst>
          </c:dPt>
          <c:dPt>
            <c:idx val="1"/>
            <c:bubble3D val="0"/>
            <c:spPr>
              <a:solidFill>
                <a:srgbClr val="4E72B7"/>
              </a:solidFill>
              <a:ln w="6350" algn="ctr">
                <a:solidFill>
                  <a:schemeClr val="tx1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844B-47CB-BF33-A69044007445}"/>
              </c:ext>
            </c:extLst>
          </c:dPt>
          <c:dPt>
            <c:idx val="2"/>
            <c:bubble3D val="0"/>
            <c:spPr>
              <a:solidFill>
                <a:srgbClr val="3786DE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844B-47CB-BF33-A69044007445}"/>
              </c:ext>
            </c:extLst>
          </c:dPt>
          <c:dPt>
            <c:idx val="3"/>
            <c:bubble3D val="0"/>
            <c:spPr>
              <a:solidFill>
                <a:srgbClr val="555454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844B-47CB-BF33-A69044007445}"/>
              </c:ext>
            </c:extLst>
          </c:dPt>
          <c:dPt>
            <c:idx val="4"/>
            <c:bubble3D val="0"/>
            <c:spPr>
              <a:solidFill>
                <a:srgbClr val="CAC9C9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844B-47CB-BF33-A69044007445}"/>
              </c:ext>
            </c:extLst>
          </c:dPt>
          <c:val>
            <c:numRef>
              <c:f>Sheet1!$A$1:$A$5</c:f>
              <c:numCache>
                <c:formatCode>General</c:formatCode>
                <c:ptCount val="5"/>
                <c:pt idx="0">
                  <c:v>44.641291001578672</c:v>
                </c:pt>
                <c:pt idx="1">
                  <c:v>17.610945448166991</c:v>
                </c:pt>
                <c:pt idx="2">
                  <c:v>17.54078231889142</c:v>
                </c:pt>
                <c:pt idx="3">
                  <c:v>17.54078231889142</c:v>
                </c:pt>
                <c:pt idx="4">
                  <c:v>2.666198912471496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A-844B-47CB-BF33-A6904400744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65"/>
      </c:doughnutChart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2125" cy="3413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3" name="Symbol zastępczy daty 2"/>
          <p:cNvSpPr>
            <a:spLocks noGrp="1"/>
          </p:cNvSpPr>
          <p:nvPr>
            <p:ph type="dt" sz="quarter" idx="1"/>
          </p:nvPr>
        </p:nvSpPr>
        <p:spPr>
          <a:xfrm>
            <a:off x="5622925" y="0"/>
            <a:ext cx="4302125" cy="3413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8643CDB-55D1-4D8F-B4F1-4220A50C84AC}" type="datetimeFigureOut">
              <a:rPr lang="pl-PL" smtClean="0"/>
              <a:t>2022-04-01</a:t>
            </a:fld>
            <a:endParaRPr lang="pl-PL"/>
          </a:p>
        </p:txBody>
      </p:sp>
      <p:sp>
        <p:nvSpPr>
          <p:cNvPr id="4" name="Symbol zastępczy stopki 3"/>
          <p:cNvSpPr>
            <a:spLocks noGrp="1"/>
          </p:cNvSpPr>
          <p:nvPr>
            <p:ph type="ftr" sz="quarter" idx="2"/>
          </p:nvPr>
        </p:nvSpPr>
        <p:spPr>
          <a:xfrm>
            <a:off x="0" y="6456363"/>
            <a:ext cx="4302125" cy="3413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3"/>
          </p:nvPr>
        </p:nvSpPr>
        <p:spPr>
          <a:xfrm>
            <a:off x="5622925" y="6456363"/>
            <a:ext cx="4302125" cy="3413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A98A682-BF60-45AC-A293-73D9A97F253B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54152185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2005" cy="340492"/>
          </a:xfrm>
          <a:prstGeom prst="rect">
            <a:avLst/>
          </a:prstGeom>
        </p:spPr>
        <p:txBody>
          <a:bodyPr vert="horz" lIns="88221" tIns="44111" rIns="88221" bIns="44111" rtlCol="0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3" name="Symbol zastępczy daty 2"/>
          <p:cNvSpPr>
            <a:spLocks noGrp="1"/>
          </p:cNvSpPr>
          <p:nvPr>
            <p:ph type="dt" idx="1"/>
          </p:nvPr>
        </p:nvSpPr>
        <p:spPr>
          <a:xfrm>
            <a:off x="5623093" y="0"/>
            <a:ext cx="4302005" cy="340492"/>
          </a:xfrm>
          <a:prstGeom prst="rect">
            <a:avLst/>
          </a:prstGeom>
        </p:spPr>
        <p:txBody>
          <a:bodyPr vert="horz" lIns="88221" tIns="44111" rIns="88221" bIns="44111" rtlCol="0"/>
          <a:lstStyle>
            <a:lvl1pPr algn="r">
              <a:defRPr sz="1200"/>
            </a:lvl1pPr>
          </a:lstStyle>
          <a:p>
            <a:fld id="{B435A7A1-E866-451A-9692-9A9B93DBE8CE}" type="datetimeFigureOut">
              <a:rPr lang="pl-PL" smtClean="0"/>
              <a:t>2022-04-01</a:t>
            </a:fld>
            <a:endParaRPr lang="pl-PL"/>
          </a:p>
        </p:txBody>
      </p:sp>
      <p:sp>
        <p:nvSpPr>
          <p:cNvPr id="4" name="Symbol zastępczy obrazu slajdu 3"/>
          <p:cNvSpPr>
            <a:spLocks noGrp="1" noRot="1" noChangeAspect="1"/>
          </p:cNvSpPr>
          <p:nvPr>
            <p:ph type="sldImg" idx="2"/>
          </p:nvPr>
        </p:nvSpPr>
        <p:spPr>
          <a:xfrm>
            <a:off x="3341688" y="849313"/>
            <a:ext cx="3243262" cy="22939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8221" tIns="44111" rIns="88221" bIns="44111" rtlCol="0" anchor="ctr"/>
          <a:lstStyle/>
          <a:p>
            <a:endParaRPr lang="pl-PL"/>
          </a:p>
        </p:txBody>
      </p:sp>
      <p:sp>
        <p:nvSpPr>
          <p:cNvPr id="5" name="Symbol zastępczy notatek 4"/>
          <p:cNvSpPr>
            <a:spLocks noGrp="1"/>
          </p:cNvSpPr>
          <p:nvPr>
            <p:ph type="body" sz="quarter" idx="3"/>
          </p:nvPr>
        </p:nvSpPr>
        <p:spPr>
          <a:xfrm>
            <a:off x="993126" y="3271153"/>
            <a:ext cx="7940386" cy="2676813"/>
          </a:xfrm>
          <a:prstGeom prst="rect">
            <a:avLst/>
          </a:prstGeom>
        </p:spPr>
        <p:txBody>
          <a:bodyPr vert="horz" lIns="88221" tIns="44111" rIns="88221" bIns="44111" rtlCol="0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4"/>
          </p:nvPr>
        </p:nvSpPr>
        <p:spPr>
          <a:xfrm>
            <a:off x="0" y="6457183"/>
            <a:ext cx="4302005" cy="340492"/>
          </a:xfrm>
          <a:prstGeom prst="rect">
            <a:avLst/>
          </a:prstGeom>
        </p:spPr>
        <p:txBody>
          <a:bodyPr vert="horz" lIns="88221" tIns="44111" rIns="88221" bIns="44111" rtlCol="0" anchor="b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5"/>
          </p:nvPr>
        </p:nvSpPr>
        <p:spPr>
          <a:xfrm>
            <a:off x="5623093" y="6457183"/>
            <a:ext cx="4302005" cy="340492"/>
          </a:xfrm>
          <a:prstGeom prst="rect">
            <a:avLst/>
          </a:prstGeom>
        </p:spPr>
        <p:txBody>
          <a:bodyPr vert="horz" lIns="88221" tIns="44111" rIns="88221" bIns="44111" rtlCol="0" anchor="b"/>
          <a:lstStyle>
            <a:lvl1pPr algn="r">
              <a:defRPr sz="1200"/>
            </a:lvl1pPr>
          </a:lstStyle>
          <a:p>
            <a:fld id="{4E46CEC0-2171-49EE-9582-1E71E09B6623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00410417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rtl="0"/>
            <a:r>
              <a:rPr lang="en" b="0" i="0" u="none" baseline="0"/>
              <a:t>Usunąć Lidera / ew. Zamienić zdjęcie na inne</a:t>
            </a:r>
            <a:endParaRPr lang="en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 rtl="0"/>
            <a:fld id="{4E46CEC0-2171-49EE-9582-1E71E09B6623}" type="slidenum">
              <a:rPr/>
              <a:t>1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536768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 rtl="0"/>
            <a:fld id="{4E46CEC0-2171-49EE-9582-1E71E09B6623}" type="slidenum">
              <a:rPr/>
              <a:t>2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2657454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 rtl="0"/>
            <a:fld id="{4E46CEC0-2171-49EE-9582-1E71E09B6623}" type="slidenum">
              <a:rPr>
                <a:solidFill>
                  <a:prstClr val="black"/>
                </a:solidFill>
              </a:rPr>
              <a:pPr algn="l" rtl="0"/>
              <a:t>3</a:t>
            </a:fld>
            <a:endParaRPr lang="en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816871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 rtl="0"/>
            <a:fld id="{4E46CEC0-2171-49EE-9582-1E71E09B6623}" type="slidenum">
              <a:rPr/>
              <a:t>4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202497331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 rtl="0"/>
            <a:fld id="{4E46CEC0-2171-49EE-9582-1E71E09B6623}" type="slidenum">
              <a:rPr/>
              <a:t>7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49875421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 rtl="0"/>
            <a:fld id="{4E46CEC0-2171-49EE-9582-1E71E09B6623}" type="slidenum">
              <a:rPr/>
              <a:t>9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4838201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 rtl="0"/>
            <a:fld id="{4E46CEC0-2171-49EE-9582-1E71E09B6623}" type="slidenum">
              <a:rPr/>
              <a:t>10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40746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 rtl="0"/>
            <a:fld id="{4E46CEC0-2171-49EE-9582-1E71E09B6623}" type="slidenum">
              <a:rPr/>
              <a:t>11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27680054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ymbol zastępczy numeru slajdu 6"/>
          <p:cNvSpPr>
            <a:spLocks noGrp="1"/>
          </p:cNvSpPr>
          <p:nvPr>
            <p:ph type="sldNum" sz="quarter" idx="4"/>
          </p:nvPr>
        </p:nvSpPr>
        <p:spPr>
          <a:xfrm>
            <a:off x="310733" y="6804394"/>
            <a:ext cx="522208" cy="4016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>
                <a:solidFill>
                  <a:schemeClr val="tx1">
                    <a:tint val="75000"/>
                  </a:schemeClr>
                </a:solidFill>
                <a:latin typeface="Myriad Pro" panose="020B0503030403020204" pitchFamily="34" charset="0"/>
              </a:defRPr>
            </a:lvl1pPr>
          </a:lstStyle>
          <a:p>
            <a:fld id="{022581BA-A277-4FE5-891C-DC92D7F0A26A}" type="slidenum">
              <a:rPr lang="pl-PL" smtClean="0"/>
              <a:pPr/>
              <a:t>‹#›</a:t>
            </a:fld>
            <a:endParaRPr lang="pl-PL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numeru slajdu 6"/>
          <p:cNvSpPr>
            <a:spLocks noGrp="1"/>
          </p:cNvSpPr>
          <p:nvPr>
            <p:ph type="sldNum" sz="quarter" idx="4"/>
          </p:nvPr>
        </p:nvSpPr>
        <p:spPr>
          <a:xfrm>
            <a:off x="310733" y="6804394"/>
            <a:ext cx="522208" cy="4016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 b="1">
                <a:solidFill>
                  <a:srgbClr val="555454"/>
                </a:solidFill>
                <a:latin typeface="Myriad Pro" panose="020B0503030403020204" pitchFamily="34" charset="0"/>
              </a:defRPr>
            </a:lvl1pPr>
          </a:lstStyle>
          <a:p>
            <a:fld id="{022581BA-A277-4FE5-891C-DC92D7F0A26A}" type="slidenum">
              <a:rPr lang="pl-PL" smtClean="0"/>
              <a:pPr/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98126909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numeru slajdu 6"/>
          <p:cNvSpPr>
            <a:spLocks noGrp="1"/>
          </p:cNvSpPr>
          <p:nvPr>
            <p:ph type="sldNum" sz="quarter" idx="4"/>
          </p:nvPr>
        </p:nvSpPr>
        <p:spPr>
          <a:xfrm>
            <a:off x="310733" y="6804394"/>
            <a:ext cx="522208" cy="4016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 b="1">
                <a:solidFill>
                  <a:srgbClr val="555454"/>
                </a:solidFill>
                <a:latin typeface="Myriad Pro" panose="020B0503030403020204" pitchFamily="34" charset="0"/>
              </a:defRPr>
            </a:lvl1pPr>
          </a:lstStyle>
          <a:p>
            <a:fld id="{022581BA-A277-4FE5-891C-DC92D7F0A26A}" type="slidenum">
              <a:rPr lang="pl-PL" smtClean="0"/>
              <a:pPr/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93661126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numeru slajdu 6"/>
          <p:cNvSpPr>
            <a:spLocks noGrp="1"/>
          </p:cNvSpPr>
          <p:nvPr>
            <p:ph type="sldNum" sz="quarter" idx="4"/>
          </p:nvPr>
        </p:nvSpPr>
        <p:spPr>
          <a:xfrm>
            <a:off x="310733" y="6804394"/>
            <a:ext cx="522208" cy="4016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 b="1">
                <a:solidFill>
                  <a:srgbClr val="555454"/>
                </a:solidFill>
                <a:latin typeface="Myriad Pro" panose="020B0503030403020204" pitchFamily="34" charset="0"/>
              </a:defRPr>
            </a:lvl1pPr>
          </a:lstStyle>
          <a:p>
            <a:fld id="{022581BA-A277-4FE5-891C-DC92D7F0A26A}" type="slidenum">
              <a:rPr lang="pl-PL" smtClean="0"/>
              <a:pPr/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02360989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numeru slajdu 6"/>
          <p:cNvSpPr>
            <a:spLocks noGrp="1"/>
          </p:cNvSpPr>
          <p:nvPr>
            <p:ph type="sldNum" sz="quarter" idx="4"/>
          </p:nvPr>
        </p:nvSpPr>
        <p:spPr>
          <a:xfrm>
            <a:off x="310733" y="6804394"/>
            <a:ext cx="522208" cy="4016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 b="1">
                <a:solidFill>
                  <a:srgbClr val="555454"/>
                </a:solidFill>
                <a:latin typeface="Myriad Pro" panose="020B0503030403020204" pitchFamily="34" charset="0"/>
              </a:defRPr>
            </a:lvl1pPr>
          </a:lstStyle>
          <a:p>
            <a:fld id="{022581BA-A277-4FE5-891C-DC92D7F0A26A}" type="slidenum">
              <a:rPr lang="pl-PL" smtClean="0"/>
              <a:pPr/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8787141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numeru slajdu 6"/>
          <p:cNvSpPr>
            <a:spLocks noGrp="1"/>
          </p:cNvSpPr>
          <p:nvPr>
            <p:ph type="sldNum" sz="quarter" idx="4"/>
          </p:nvPr>
        </p:nvSpPr>
        <p:spPr>
          <a:xfrm>
            <a:off x="310733" y="6804394"/>
            <a:ext cx="522208" cy="4016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 b="1">
                <a:solidFill>
                  <a:srgbClr val="555454"/>
                </a:solidFill>
                <a:latin typeface="Myriad Pro" panose="020B0503030403020204" pitchFamily="34" charset="0"/>
              </a:defRPr>
            </a:lvl1pPr>
          </a:lstStyle>
          <a:p>
            <a:fld id="{022581BA-A277-4FE5-891C-DC92D7F0A26A}" type="slidenum">
              <a:rPr lang="pl-PL" smtClean="0"/>
              <a:pPr/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66309061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ymbol zastępczy numeru slajdu 6"/>
          <p:cNvSpPr>
            <a:spLocks noGrp="1"/>
          </p:cNvSpPr>
          <p:nvPr>
            <p:ph type="sldNum" sz="quarter" idx="4"/>
          </p:nvPr>
        </p:nvSpPr>
        <p:spPr>
          <a:xfrm>
            <a:off x="310733" y="6804394"/>
            <a:ext cx="522208" cy="4016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>
                <a:solidFill>
                  <a:schemeClr val="tx1">
                    <a:tint val="75000"/>
                  </a:schemeClr>
                </a:solidFill>
                <a:latin typeface="Myriad Pro" panose="020B0503030403020204" pitchFamily="34" charset="0"/>
              </a:defRPr>
            </a:lvl1pPr>
          </a:lstStyle>
          <a:p>
            <a:fld id="{022581BA-A277-4FE5-891C-DC92D7F0A26A}" type="slidenum">
              <a:rPr lang="pl-P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pl-PL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71575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umeru slajdu 6"/>
          <p:cNvSpPr>
            <a:spLocks noGrp="1"/>
          </p:cNvSpPr>
          <p:nvPr>
            <p:ph type="sldNum" sz="quarter" idx="4"/>
          </p:nvPr>
        </p:nvSpPr>
        <p:spPr>
          <a:xfrm>
            <a:off x="310733" y="6804394"/>
            <a:ext cx="522208" cy="4016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 b="1">
                <a:solidFill>
                  <a:schemeClr val="tx1">
                    <a:tint val="75000"/>
                  </a:schemeClr>
                </a:solidFill>
                <a:latin typeface="Myriad Pro" panose="020B0503030403020204" pitchFamily="34" charset="0"/>
              </a:defRPr>
            </a:lvl1pPr>
          </a:lstStyle>
          <a:p>
            <a:fld id="{022581BA-A277-4FE5-891C-DC92D7F0A26A}" type="slidenum">
              <a:rPr lang="pl-P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pl-PL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919196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umeru slajdu 6"/>
          <p:cNvSpPr>
            <a:spLocks noGrp="1"/>
          </p:cNvSpPr>
          <p:nvPr>
            <p:ph type="sldNum" sz="quarter" idx="4"/>
          </p:nvPr>
        </p:nvSpPr>
        <p:spPr>
          <a:xfrm>
            <a:off x="310733" y="6804394"/>
            <a:ext cx="522208" cy="4016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>
                <a:solidFill>
                  <a:schemeClr val="tx1">
                    <a:tint val="75000"/>
                  </a:schemeClr>
                </a:solidFill>
                <a:latin typeface="Myriad Pro" panose="020B0503030403020204" pitchFamily="34" charset="0"/>
              </a:defRPr>
            </a:lvl1pPr>
          </a:lstStyle>
          <a:p>
            <a:fld id="{022581BA-A277-4FE5-891C-DC92D7F0A26A}" type="slidenum">
              <a:rPr lang="pl-P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pl-PL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43670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umeru slajdu 6"/>
          <p:cNvSpPr>
            <a:spLocks noGrp="1"/>
          </p:cNvSpPr>
          <p:nvPr>
            <p:ph type="sldNum" sz="quarter" idx="4"/>
          </p:nvPr>
        </p:nvSpPr>
        <p:spPr>
          <a:xfrm>
            <a:off x="310733" y="6804394"/>
            <a:ext cx="522208" cy="4016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>
                <a:solidFill>
                  <a:schemeClr val="tx1">
                    <a:tint val="75000"/>
                  </a:schemeClr>
                </a:solidFill>
                <a:latin typeface="Myriad Pro" panose="020B0503030403020204" pitchFamily="34" charset="0"/>
              </a:defRPr>
            </a:lvl1pPr>
          </a:lstStyle>
          <a:p>
            <a:fld id="{022581BA-A277-4FE5-891C-DC92D7F0A26A}" type="slidenum">
              <a:rPr lang="pl-P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pl-PL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06103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umeru slajdu 6"/>
          <p:cNvSpPr>
            <a:spLocks noGrp="1"/>
          </p:cNvSpPr>
          <p:nvPr>
            <p:ph type="sldNum" sz="quarter" idx="4"/>
          </p:nvPr>
        </p:nvSpPr>
        <p:spPr>
          <a:xfrm>
            <a:off x="310733" y="6804394"/>
            <a:ext cx="522208" cy="4016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 b="1">
                <a:solidFill>
                  <a:schemeClr val="tx1">
                    <a:tint val="75000"/>
                  </a:schemeClr>
                </a:solidFill>
                <a:latin typeface="Myriad Pro" panose="020B0503030403020204" pitchFamily="34" charset="0"/>
              </a:defRPr>
            </a:lvl1pPr>
          </a:lstStyle>
          <a:p>
            <a:fld id="{022581BA-A277-4FE5-891C-DC92D7F0A26A}" type="slidenum">
              <a:rPr lang="pl-PL" smtClean="0"/>
              <a:pPr/>
              <a:t>‹#›</a:t>
            </a:fld>
            <a:endParaRPr lang="pl-PL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umeru slajdu 6"/>
          <p:cNvSpPr>
            <a:spLocks noGrp="1"/>
          </p:cNvSpPr>
          <p:nvPr>
            <p:ph type="sldNum" sz="quarter" idx="4"/>
          </p:nvPr>
        </p:nvSpPr>
        <p:spPr>
          <a:xfrm>
            <a:off x="310733" y="6804394"/>
            <a:ext cx="522208" cy="4016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>
                <a:solidFill>
                  <a:schemeClr val="tx1">
                    <a:tint val="75000"/>
                  </a:schemeClr>
                </a:solidFill>
                <a:latin typeface="Myriad Pro" panose="020B0503030403020204" pitchFamily="34" charset="0"/>
              </a:defRPr>
            </a:lvl1pPr>
          </a:lstStyle>
          <a:p>
            <a:fld id="{022581BA-A277-4FE5-891C-DC92D7F0A26A}" type="slidenum">
              <a:rPr lang="pl-PL" smtClean="0"/>
              <a:pPr/>
              <a:t>‹#›</a:t>
            </a:fld>
            <a:endParaRPr lang="pl-PL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umeru slajdu 6"/>
          <p:cNvSpPr>
            <a:spLocks noGrp="1"/>
          </p:cNvSpPr>
          <p:nvPr>
            <p:ph type="sldNum" sz="quarter" idx="4"/>
          </p:nvPr>
        </p:nvSpPr>
        <p:spPr>
          <a:xfrm>
            <a:off x="310733" y="6804394"/>
            <a:ext cx="522208" cy="4016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>
                <a:solidFill>
                  <a:schemeClr val="tx1">
                    <a:tint val="75000"/>
                  </a:schemeClr>
                </a:solidFill>
                <a:latin typeface="Myriad Pro" panose="020B0503030403020204" pitchFamily="34" charset="0"/>
              </a:defRPr>
            </a:lvl1pPr>
          </a:lstStyle>
          <a:p>
            <a:fld id="{022581BA-A277-4FE5-891C-DC92D7F0A26A}" type="slidenum">
              <a:rPr lang="pl-PL" smtClean="0"/>
              <a:pPr/>
              <a:t>‹#›</a:t>
            </a:fld>
            <a:endParaRPr lang="pl-PL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umeru slajdu 6"/>
          <p:cNvSpPr>
            <a:spLocks noGrp="1"/>
          </p:cNvSpPr>
          <p:nvPr>
            <p:ph type="sldNum" sz="quarter" idx="4"/>
          </p:nvPr>
        </p:nvSpPr>
        <p:spPr>
          <a:xfrm>
            <a:off x="310733" y="6804394"/>
            <a:ext cx="522208" cy="4016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>
                <a:solidFill>
                  <a:schemeClr val="tx1">
                    <a:tint val="75000"/>
                  </a:schemeClr>
                </a:solidFill>
                <a:latin typeface="Myriad Pro" panose="020B0503030403020204" pitchFamily="34" charset="0"/>
              </a:defRPr>
            </a:lvl1pPr>
          </a:lstStyle>
          <a:p>
            <a:fld id="{022581BA-A277-4FE5-891C-DC92D7F0A26A}" type="slidenum">
              <a:rPr lang="pl-PL" smtClean="0"/>
              <a:pPr/>
              <a:t>‹#›</a:t>
            </a:fld>
            <a:endParaRPr lang="pl-PL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927238" y="373345"/>
            <a:ext cx="2780029" cy="360680"/>
          </a:xfrm>
          <a:prstGeom prst="rect">
            <a:avLst/>
          </a:prstGeom>
        </p:spPr>
        <p:txBody>
          <a:bodyPr lIns="0" tIns="0" rIns="0" bIns="0"/>
          <a:lstStyle>
            <a:lvl1pPr>
              <a:defRPr sz="2200" b="1" i="1">
                <a:solidFill>
                  <a:srgbClr val="555454"/>
                </a:solidFill>
                <a:latin typeface="Verdana"/>
                <a:cs typeface="Verdan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2901696" y="3361064"/>
            <a:ext cx="4890006" cy="160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2100" b="0" i="1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9835274" y="6838241"/>
            <a:ext cx="417195" cy="473075"/>
          </a:xfrm>
          <a:prstGeom prst="rect">
            <a:avLst/>
          </a:prstGeom>
        </p:spPr>
        <p:txBody>
          <a:bodyPr lIns="0" tIns="0" rIns="0" bIns="0"/>
          <a:lstStyle>
            <a:lvl1pPr>
              <a:defRPr sz="2850" b="1" i="1">
                <a:solidFill>
                  <a:srgbClr val="555454"/>
                </a:solidFill>
                <a:latin typeface="Verdana"/>
                <a:cs typeface="Verdana"/>
              </a:defRPr>
            </a:lvl1pPr>
          </a:lstStyle>
          <a:p>
            <a:pPr marL="25400">
              <a:spcBef>
                <a:spcPts val="60"/>
              </a:spcBef>
            </a:pPr>
            <a:fld id="{81D60167-4931-47E6-BA6A-407CBD079E47}" type="slidenum">
              <a:rPr spc="-475" dirty="0"/>
              <a:pPr marL="25400">
                <a:spcBef>
                  <a:spcPts val="60"/>
                </a:spcBef>
              </a:pPr>
              <a:t>‹#›</a:t>
            </a:fld>
            <a:endParaRPr spc="-475"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534670" y="7033450"/>
            <a:ext cx="2459482" cy="37814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8245182" y="7103502"/>
            <a:ext cx="1136650" cy="137795"/>
          </a:xfrm>
          <a:prstGeom prst="rect">
            <a:avLst/>
          </a:prstGeom>
        </p:spPr>
        <p:txBody>
          <a:bodyPr lIns="0" tIns="0" rIns="0" bIns="0"/>
          <a:lstStyle>
            <a:lvl1pPr>
              <a:defRPr sz="700" b="0" i="1">
                <a:solidFill>
                  <a:srgbClr val="555454"/>
                </a:solidFill>
                <a:latin typeface="Trebuchet MS"/>
                <a:cs typeface="Trebuchet MS"/>
              </a:defRPr>
            </a:lvl1pPr>
          </a:lstStyle>
          <a:p>
            <a:pPr marL="12700">
              <a:spcBef>
                <a:spcPts val="100"/>
              </a:spcBef>
            </a:pPr>
            <a:endParaRPr b="1" spc="-110" dirty="0">
              <a:solidFill>
                <a:srgbClr val="004F9F"/>
              </a:solidFill>
              <a:latin typeface="Verdan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11763745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numeru slajdu 6"/>
          <p:cNvSpPr>
            <a:spLocks noGrp="1"/>
          </p:cNvSpPr>
          <p:nvPr>
            <p:ph type="sldNum" sz="quarter" idx="4"/>
          </p:nvPr>
        </p:nvSpPr>
        <p:spPr>
          <a:xfrm>
            <a:off x="310733" y="6804394"/>
            <a:ext cx="522208" cy="4016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 b="1">
                <a:solidFill>
                  <a:srgbClr val="555454"/>
                </a:solidFill>
                <a:latin typeface="Myriad Pro" panose="020B0503030403020204" pitchFamily="34" charset="0"/>
              </a:defRPr>
            </a:lvl1pPr>
          </a:lstStyle>
          <a:p>
            <a:fld id="{022581BA-A277-4FE5-891C-DC92D7F0A26A}" type="slidenum">
              <a:rPr lang="pl-PL" smtClean="0"/>
              <a:pPr/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4210319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numeru slajdu 6"/>
          <p:cNvSpPr>
            <a:spLocks noGrp="1"/>
          </p:cNvSpPr>
          <p:nvPr>
            <p:ph type="sldNum" sz="quarter" idx="4"/>
          </p:nvPr>
        </p:nvSpPr>
        <p:spPr>
          <a:xfrm>
            <a:off x="310733" y="6804394"/>
            <a:ext cx="522208" cy="4016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 b="1">
                <a:solidFill>
                  <a:srgbClr val="555454"/>
                </a:solidFill>
                <a:latin typeface="Myriad Pro" panose="020B0503030403020204" pitchFamily="34" charset="0"/>
              </a:defRPr>
            </a:lvl1pPr>
          </a:lstStyle>
          <a:p>
            <a:fld id="{022581BA-A277-4FE5-891C-DC92D7F0A26A}" type="slidenum">
              <a:rPr lang="pl-PL" smtClean="0"/>
              <a:pPr/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51084461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numeru slajdu 6"/>
          <p:cNvSpPr>
            <a:spLocks noGrp="1"/>
          </p:cNvSpPr>
          <p:nvPr>
            <p:ph type="sldNum" sz="quarter" idx="4"/>
          </p:nvPr>
        </p:nvSpPr>
        <p:spPr>
          <a:xfrm>
            <a:off x="310733" y="6804394"/>
            <a:ext cx="522208" cy="4016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 b="1">
                <a:solidFill>
                  <a:srgbClr val="555454"/>
                </a:solidFill>
                <a:latin typeface="Myriad Pro" panose="020B0503030403020204" pitchFamily="34" charset="0"/>
              </a:defRPr>
            </a:lvl1pPr>
          </a:lstStyle>
          <a:p>
            <a:fld id="{022581BA-A277-4FE5-891C-DC92D7F0A26A}" type="slidenum">
              <a:rPr lang="pl-PL" smtClean="0"/>
              <a:pPr/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1773784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3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iekt 1" hidden="1"/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8970110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119" name="think-cell Slide" r:id="rId22" imgW="395" imgH="396" progId="TCLayout.ActiveDocument.1">
                  <p:embed/>
                </p:oleObj>
              </mc:Choice>
              <mc:Fallback>
                <p:oleObj name="think-cell Slide" r:id="rId22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ymbol zastępczy numeru slajdu 6"/>
          <p:cNvSpPr>
            <a:spLocks noGrp="1"/>
          </p:cNvSpPr>
          <p:nvPr>
            <p:ph type="sldNum" sz="quarter" idx="4"/>
          </p:nvPr>
        </p:nvSpPr>
        <p:spPr>
          <a:xfrm>
            <a:off x="310733" y="6804394"/>
            <a:ext cx="522208" cy="4016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>
                <a:solidFill>
                  <a:schemeClr val="tx1">
                    <a:tint val="75000"/>
                  </a:schemeClr>
                </a:solidFill>
                <a:latin typeface="Myriad Pro" panose="020B0503030403020204" pitchFamily="34" charset="0"/>
              </a:defRPr>
            </a:lvl1pPr>
          </a:lstStyle>
          <a:p>
            <a:fld id="{022581BA-A277-4FE5-891C-DC92D7F0A26A}" type="slidenum">
              <a:rPr lang="pl-PL" smtClean="0"/>
              <a:pPr/>
              <a:t>‹#›</a:t>
            </a:fld>
            <a:endParaRPr lang="pl-PL" dirty="0"/>
          </a:p>
        </p:txBody>
      </p:sp>
      <p:pic>
        <p:nvPicPr>
          <p:cNvPr id="4" name="Obraz 3" descr="strzalka-2.png"/>
          <p:cNvPicPr>
            <a:picLocks noChangeAspect="1"/>
          </p:cNvPicPr>
          <p:nvPr userDrawn="1"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6958" y="6829425"/>
            <a:ext cx="253916" cy="351576"/>
          </a:xfrm>
          <a:prstGeom prst="rect">
            <a:avLst/>
          </a:prstGeom>
        </p:spPr>
      </p:pic>
      <p:pic>
        <p:nvPicPr>
          <p:cNvPr id="3" name="Obraz 2"/>
          <p:cNvPicPr>
            <a:picLocks noChangeAspect="1"/>
          </p:cNvPicPr>
          <p:nvPr userDrawn="1"/>
        </p:nvPicPr>
        <p:blipFill>
          <a:blip r:embed="rId25"/>
          <a:stretch>
            <a:fillRect/>
          </a:stretch>
        </p:blipFill>
        <p:spPr>
          <a:xfrm>
            <a:off x="8166100" y="6871863"/>
            <a:ext cx="2095500" cy="266700"/>
          </a:xfrm>
          <a:prstGeom prst="rect">
            <a:avLst/>
          </a:prstGeom>
        </p:spPr>
      </p:pic>
      <p:sp>
        <p:nvSpPr>
          <p:cNvPr id="6" name="object 2"/>
          <p:cNvSpPr txBox="1">
            <a:spLocks/>
          </p:cNvSpPr>
          <p:nvPr userDrawn="1"/>
        </p:nvSpPr>
        <p:spPr>
          <a:xfrm>
            <a:off x="1538924" y="6918262"/>
            <a:ext cx="1292505" cy="1359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pPr marL="12700" marR="5080">
              <a:spcBef>
                <a:spcPts val="100"/>
              </a:spcBef>
            </a:pPr>
            <a:r>
              <a:rPr lang="pl-PL" sz="800" spc="-5" dirty="0">
                <a:solidFill>
                  <a:srgbClr val="454545"/>
                </a:solidFill>
                <a:latin typeface="Myriad Pro"/>
                <a:cs typeface="Myriad Pro"/>
              </a:rPr>
              <a:t>GRUPA PKP CARGO </a:t>
            </a:r>
            <a:r>
              <a:rPr lang="is-IS" sz="800" b="1" spc="-5" dirty="0">
                <a:solidFill>
                  <a:srgbClr val="3A4D98"/>
                </a:solidFill>
                <a:latin typeface="Myriad Pro"/>
                <a:cs typeface="Myriad Pro"/>
              </a:rPr>
              <a:t>20</a:t>
            </a:r>
            <a:r>
              <a:rPr lang="pl-PL" sz="800" b="1" spc="-5" dirty="0">
                <a:solidFill>
                  <a:srgbClr val="3A4D98"/>
                </a:solidFill>
                <a:latin typeface="Myriad Pro"/>
                <a:cs typeface="Myriad Pro"/>
              </a:rPr>
              <a:t>21</a:t>
            </a:r>
            <a:endParaRPr lang="pl-PL" sz="800" b="1" dirty="0">
              <a:solidFill>
                <a:srgbClr val="3A4D98"/>
              </a:solidFill>
              <a:latin typeface="Myriad Pro"/>
              <a:cs typeface="Myriad Pro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710" r:id="rId7"/>
    <p:sldLayoutId id="2147483711" r:id="rId8"/>
    <p:sldLayoutId id="2147483712" r:id="rId9"/>
    <p:sldLayoutId id="2147483713" r:id="rId10"/>
    <p:sldLayoutId id="2147483675" r:id="rId11"/>
    <p:sldLayoutId id="2147483676" r:id="rId12"/>
    <p:sldLayoutId id="2147483677" r:id="rId13"/>
    <p:sldLayoutId id="2147483678" r:id="rId14"/>
    <p:sldLayoutId id="2147483668" r:id="rId15"/>
    <p:sldLayoutId id="2147483669" r:id="rId16"/>
    <p:sldLayoutId id="2147483670" r:id="rId17"/>
    <p:sldLayoutId id="2147483671" r:id="rId18"/>
  </p:sldLayoutIdLst>
  <p:hf hdr="0" ftr="0" dt="0"/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emf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93.xml"/><Relationship Id="rId13" Type="http://schemas.openxmlformats.org/officeDocument/2006/relationships/tags" Target="../tags/tag98.xml"/><Relationship Id="rId18" Type="http://schemas.openxmlformats.org/officeDocument/2006/relationships/notesSlide" Target="../notesSlides/notesSlide7.xml"/><Relationship Id="rId3" Type="http://schemas.openxmlformats.org/officeDocument/2006/relationships/tags" Target="../tags/tag88.xml"/><Relationship Id="rId21" Type="http://schemas.openxmlformats.org/officeDocument/2006/relationships/image" Target="../media/image10.png"/><Relationship Id="rId7" Type="http://schemas.openxmlformats.org/officeDocument/2006/relationships/tags" Target="../tags/tag92.xml"/><Relationship Id="rId12" Type="http://schemas.openxmlformats.org/officeDocument/2006/relationships/tags" Target="../tags/tag97.xml"/><Relationship Id="rId17" Type="http://schemas.openxmlformats.org/officeDocument/2006/relationships/slideLayout" Target="../slideLayouts/slideLayout5.xml"/><Relationship Id="rId2" Type="http://schemas.openxmlformats.org/officeDocument/2006/relationships/tags" Target="../tags/tag87.xml"/><Relationship Id="rId16" Type="http://schemas.openxmlformats.org/officeDocument/2006/relationships/tags" Target="../tags/tag101.xml"/><Relationship Id="rId20" Type="http://schemas.openxmlformats.org/officeDocument/2006/relationships/image" Target="../media/image14.emf"/><Relationship Id="rId1" Type="http://schemas.openxmlformats.org/officeDocument/2006/relationships/vmlDrawing" Target="../drawings/vmlDrawing10.vml"/><Relationship Id="rId6" Type="http://schemas.openxmlformats.org/officeDocument/2006/relationships/tags" Target="../tags/tag91.xml"/><Relationship Id="rId11" Type="http://schemas.openxmlformats.org/officeDocument/2006/relationships/tags" Target="../tags/tag96.xml"/><Relationship Id="rId5" Type="http://schemas.openxmlformats.org/officeDocument/2006/relationships/tags" Target="../tags/tag90.xml"/><Relationship Id="rId15" Type="http://schemas.openxmlformats.org/officeDocument/2006/relationships/tags" Target="../tags/tag100.xml"/><Relationship Id="rId10" Type="http://schemas.openxmlformats.org/officeDocument/2006/relationships/tags" Target="../tags/tag95.xml"/><Relationship Id="rId19" Type="http://schemas.openxmlformats.org/officeDocument/2006/relationships/oleObject" Target="../embeddings/oleObject10.bin"/><Relationship Id="rId4" Type="http://schemas.openxmlformats.org/officeDocument/2006/relationships/tags" Target="../tags/tag89.xml"/><Relationship Id="rId9" Type="http://schemas.openxmlformats.org/officeDocument/2006/relationships/tags" Target="../tags/tag94.xml"/><Relationship Id="rId14" Type="http://schemas.openxmlformats.org/officeDocument/2006/relationships/tags" Target="../tags/tag99.xml"/><Relationship Id="rId22" Type="http://schemas.openxmlformats.org/officeDocument/2006/relationships/chart" Target="../charts/chart7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108.xml"/><Relationship Id="rId13" Type="http://schemas.openxmlformats.org/officeDocument/2006/relationships/tags" Target="../tags/tag113.xml"/><Relationship Id="rId18" Type="http://schemas.openxmlformats.org/officeDocument/2006/relationships/tags" Target="../tags/tag118.xml"/><Relationship Id="rId26" Type="http://schemas.openxmlformats.org/officeDocument/2006/relationships/chart" Target="../charts/chart8.xml"/><Relationship Id="rId3" Type="http://schemas.openxmlformats.org/officeDocument/2006/relationships/tags" Target="../tags/tag103.xml"/><Relationship Id="rId21" Type="http://schemas.openxmlformats.org/officeDocument/2006/relationships/slideLayout" Target="../slideLayouts/slideLayout5.xml"/><Relationship Id="rId7" Type="http://schemas.openxmlformats.org/officeDocument/2006/relationships/tags" Target="../tags/tag107.xml"/><Relationship Id="rId12" Type="http://schemas.openxmlformats.org/officeDocument/2006/relationships/tags" Target="../tags/tag112.xml"/><Relationship Id="rId17" Type="http://schemas.openxmlformats.org/officeDocument/2006/relationships/tags" Target="../tags/tag117.xml"/><Relationship Id="rId25" Type="http://schemas.openxmlformats.org/officeDocument/2006/relationships/image" Target="../media/image10.png"/><Relationship Id="rId2" Type="http://schemas.openxmlformats.org/officeDocument/2006/relationships/tags" Target="../tags/tag102.xml"/><Relationship Id="rId16" Type="http://schemas.openxmlformats.org/officeDocument/2006/relationships/tags" Target="../tags/tag116.xml"/><Relationship Id="rId20" Type="http://schemas.openxmlformats.org/officeDocument/2006/relationships/tags" Target="../tags/tag120.xml"/><Relationship Id="rId1" Type="http://schemas.openxmlformats.org/officeDocument/2006/relationships/vmlDrawing" Target="../drawings/vmlDrawing11.vml"/><Relationship Id="rId6" Type="http://schemas.openxmlformats.org/officeDocument/2006/relationships/tags" Target="../tags/tag106.xml"/><Relationship Id="rId11" Type="http://schemas.openxmlformats.org/officeDocument/2006/relationships/tags" Target="../tags/tag111.xml"/><Relationship Id="rId24" Type="http://schemas.openxmlformats.org/officeDocument/2006/relationships/image" Target="../media/image14.emf"/><Relationship Id="rId5" Type="http://schemas.openxmlformats.org/officeDocument/2006/relationships/tags" Target="../tags/tag105.xml"/><Relationship Id="rId15" Type="http://schemas.openxmlformats.org/officeDocument/2006/relationships/tags" Target="../tags/tag115.xml"/><Relationship Id="rId23" Type="http://schemas.openxmlformats.org/officeDocument/2006/relationships/oleObject" Target="../embeddings/oleObject11.bin"/><Relationship Id="rId10" Type="http://schemas.openxmlformats.org/officeDocument/2006/relationships/tags" Target="../tags/tag110.xml"/><Relationship Id="rId19" Type="http://schemas.openxmlformats.org/officeDocument/2006/relationships/tags" Target="../tags/tag119.xml"/><Relationship Id="rId4" Type="http://schemas.openxmlformats.org/officeDocument/2006/relationships/tags" Target="../tags/tag104.xml"/><Relationship Id="rId9" Type="http://schemas.openxmlformats.org/officeDocument/2006/relationships/tags" Target="../tags/tag109.xml"/><Relationship Id="rId14" Type="http://schemas.openxmlformats.org/officeDocument/2006/relationships/tags" Target="../tags/tag114.xml"/><Relationship Id="rId22" Type="http://schemas.openxmlformats.org/officeDocument/2006/relationships/notesSlide" Target="../notesSlides/notesSlide8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.png"/><Relationship Id="rId2" Type="http://schemas.openxmlformats.org/officeDocument/2006/relationships/tags" Target="../tags/tag121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2.bin"/><Relationship Id="rId4" Type="http://schemas.openxmlformats.org/officeDocument/2006/relationships/image" Target="../media/image6.jpeg"/><Relationship Id="rId9" Type="http://schemas.openxmlformats.org/officeDocument/2006/relationships/image" Target="../media/image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.png"/><Relationship Id="rId2" Type="http://schemas.openxmlformats.org/officeDocument/2006/relationships/tags" Target="../tags/tag122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0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3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23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24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25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26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27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6.jpeg"/><Relationship Id="rId10" Type="http://schemas.openxmlformats.org/officeDocument/2006/relationships/image" Target="../media/image2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0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3.bin"/><Relationship Id="rId10" Type="http://schemas.openxmlformats.org/officeDocument/2006/relationships/image" Target="../media/image13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6.xml"/><Relationship Id="rId7" Type="http://schemas.openxmlformats.org/officeDocument/2006/relationships/image" Target="../media/image14.emf"/><Relationship Id="rId12" Type="http://schemas.openxmlformats.org/officeDocument/2006/relationships/image" Target="../media/image18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11" Type="http://schemas.openxmlformats.org/officeDocument/2006/relationships/image" Target="../media/image17.png"/><Relationship Id="rId5" Type="http://schemas.openxmlformats.org/officeDocument/2006/relationships/notesSlide" Target="../notesSlides/notesSlide4.xml"/><Relationship Id="rId10" Type="http://schemas.openxmlformats.org/officeDocument/2006/relationships/image" Target="../media/image16.png"/><Relationship Id="rId4" Type="http://schemas.openxmlformats.org/officeDocument/2006/relationships/slideLayout" Target="../slideLayouts/slideLayout5.xml"/><Relationship Id="rId9" Type="http://schemas.openxmlformats.org/officeDocument/2006/relationships/image" Target="../media/image15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tags" Target="../tags/tag18.xml"/><Relationship Id="rId18" Type="http://schemas.openxmlformats.org/officeDocument/2006/relationships/oleObject" Target="../embeddings/oleObject5.bin"/><Relationship Id="rId3" Type="http://schemas.openxmlformats.org/officeDocument/2006/relationships/tags" Target="../tags/tag8.xml"/><Relationship Id="rId21" Type="http://schemas.openxmlformats.org/officeDocument/2006/relationships/chart" Target="../charts/chart1.xml"/><Relationship Id="rId7" Type="http://schemas.openxmlformats.org/officeDocument/2006/relationships/tags" Target="../tags/tag12.xml"/><Relationship Id="rId12" Type="http://schemas.openxmlformats.org/officeDocument/2006/relationships/tags" Target="../tags/tag17.xml"/><Relationship Id="rId17" Type="http://schemas.openxmlformats.org/officeDocument/2006/relationships/slideLayout" Target="../slideLayouts/slideLayout5.xml"/><Relationship Id="rId2" Type="http://schemas.openxmlformats.org/officeDocument/2006/relationships/tags" Target="../tags/tag7.xml"/><Relationship Id="rId16" Type="http://schemas.openxmlformats.org/officeDocument/2006/relationships/tags" Target="../tags/tag21.xml"/><Relationship Id="rId20" Type="http://schemas.openxmlformats.org/officeDocument/2006/relationships/image" Target="../media/image10.png"/><Relationship Id="rId1" Type="http://schemas.openxmlformats.org/officeDocument/2006/relationships/vmlDrawing" Target="../drawings/vmlDrawing5.vml"/><Relationship Id="rId6" Type="http://schemas.openxmlformats.org/officeDocument/2006/relationships/tags" Target="../tags/tag11.xml"/><Relationship Id="rId11" Type="http://schemas.openxmlformats.org/officeDocument/2006/relationships/tags" Target="../tags/tag16.xml"/><Relationship Id="rId5" Type="http://schemas.openxmlformats.org/officeDocument/2006/relationships/tags" Target="../tags/tag10.xml"/><Relationship Id="rId15" Type="http://schemas.openxmlformats.org/officeDocument/2006/relationships/tags" Target="../tags/tag20.xml"/><Relationship Id="rId10" Type="http://schemas.openxmlformats.org/officeDocument/2006/relationships/tags" Target="../tags/tag15.xml"/><Relationship Id="rId19" Type="http://schemas.openxmlformats.org/officeDocument/2006/relationships/image" Target="../media/image14.emf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4" Type="http://schemas.openxmlformats.org/officeDocument/2006/relationships/tags" Target="../tags/tag19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13" Type="http://schemas.openxmlformats.org/officeDocument/2006/relationships/tags" Target="../tags/tag33.xml"/><Relationship Id="rId18" Type="http://schemas.openxmlformats.org/officeDocument/2006/relationships/tags" Target="../tags/tag38.xml"/><Relationship Id="rId3" Type="http://schemas.openxmlformats.org/officeDocument/2006/relationships/tags" Target="../tags/tag23.xml"/><Relationship Id="rId21" Type="http://schemas.openxmlformats.org/officeDocument/2006/relationships/oleObject" Target="../embeddings/oleObject6.bin"/><Relationship Id="rId7" Type="http://schemas.openxmlformats.org/officeDocument/2006/relationships/tags" Target="../tags/tag27.xml"/><Relationship Id="rId12" Type="http://schemas.openxmlformats.org/officeDocument/2006/relationships/tags" Target="../tags/tag32.xml"/><Relationship Id="rId17" Type="http://schemas.openxmlformats.org/officeDocument/2006/relationships/tags" Target="../tags/tag37.xml"/><Relationship Id="rId2" Type="http://schemas.openxmlformats.org/officeDocument/2006/relationships/tags" Target="../tags/tag22.xml"/><Relationship Id="rId16" Type="http://schemas.openxmlformats.org/officeDocument/2006/relationships/tags" Target="../tags/tag36.xml"/><Relationship Id="rId20" Type="http://schemas.openxmlformats.org/officeDocument/2006/relationships/slideLayout" Target="../slideLayouts/slideLayout5.xml"/><Relationship Id="rId1" Type="http://schemas.openxmlformats.org/officeDocument/2006/relationships/vmlDrawing" Target="../drawings/vmlDrawing6.vml"/><Relationship Id="rId6" Type="http://schemas.openxmlformats.org/officeDocument/2006/relationships/tags" Target="../tags/tag26.xml"/><Relationship Id="rId11" Type="http://schemas.openxmlformats.org/officeDocument/2006/relationships/tags" Target="../tags/tag31.xml"/><Relationship Id="rId24" Type="http://schemas.openxmlformats.org/officeDocument/2006/relationships/chart" Target="../charts/chart2.xml"/><Relationship Id="rId5" Type="http://schemas.openxmlformats.org/officeDocument/2006/relationships/tags" Target="../tags/tag25.xml"/><Relationship Id="rId15" Type="http://schemas.openxmlformats.org/officeDocument/2006/relationships/tags" Target="../tags/tag35.xml"/><Relationship Id="rId23" Type="http://schemas.openxmlformats.org/officeDocument/2006/relationships/image" Target="../media/image10.png"/><Relationship Id="rId10" Type="http://schemas.openxmlformats.org/officeDocument/2006/relationships/tags" Target="../tags/tag30.xml"/><Relationship Id="rId19" Type="http://schemas.openxmlformats.org/officeDocument/2006/relationships/tags" Target="../tags/tag39.xml"/><Relationship Id="rId4" Type="http://schemas.openxmlformats.org/officeDocument/2006/relationships/tags" Target="../tags/tag24.xml"/><Relationship Id="rId9" Type="http://schemas.openxmlformats.org/officeDocument/2006/relationships/tags" Target="../tags/tag29.xml"/><Relationship Id="rId14" Type="http://schemas.openxmlformats.org/officeDocument/2006/relationships/tags" Target="../tags/tag34.xml"/><Relationship Id="rId22" Type="http://schemas.openxmlformats.org/officeDocument/2006/relationships/image" Target="../media/image14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46.xml"/><Relationship Id="rId13" Type="http://schemas.openxmlformats.org/officeDocument/2006/relationships/tags" Target="../tags/tag51.xml"/><Relationship Id="rId18" Type="http://schemas.openxmlformats.org/officeDocument/2006/relationships/tags" Target="../tags/tag56.xml"/><Relationship Id="rId26" Type="http://schemas.openxmlformats.org/officeDocument/2006/relationships/chart" Target="../charts/chart3.xml"/><Relationship Id="rId3" Type="http://schemas.openxmlformats.org/officeDocument/2006/relationships/tags" Target="../tags/tag41.xml"/><Relationship Id="rId21" Type="http://schemas.openxmlformats.org/officeDocument/2006/relationships/slideLayout" Target="../slideLayouts/slideLayout5.xml"/><Relationship Id="rId7" Type="http://schemas.openxmlformats.org/officeDocument/2006/relationships/tags" Target="../tags/tag45.xml"/><Relationship Id="rId12" Type="http://schemas.openxmlformats.org/officeDocument/2006/relationships/tags" Target="../tags/tag50.xml"/><Relationship Id="rId17" Type="http://schemas.openxmlformats.org/officeDocument/2006/relationships/tags" Target="../tags/tag55.xml"/><Relationship Id="rId25" Type="http://schemas.openxmlformats.org/officeDocument/2006/relationships/image" Target="../media/image10.png"/><Relationship Id="rId2" Type="http://schemas.openxmlformats.org/officeDocument/2006/relationships/tags" Target="../tags/tag40.xml"/><Relationship Id="rId16" Type="http://schemas.openxmlformats.org/officeDocument/2006/relationships/tags" Target="../tags/tag54.xml"/><Relationship Id="rId20" Type="http://schemas.openxmlformats.org/officeDocument/2006/relationships/tags" Target="../tags/tag58.xml"/><Relationship Id="rId1" Type="http://schemas.openxmlformats.org/officeDocument/2006/relationships/vmlDrawing" Target="../drawings/vmlDrawing7.vml"/><Relationship Id="rId6" Type="http://schemas.openxmlformats.org/officeDocument/2006/relationships/tags" Target="../tags/tag44.xml"/><Relationship Id="rId11" Type="http://schemas.openxmlformats.org/officeDocument/2006/relationships/tags" Target="../tags/tag49.xml"/><Relationship Id="rId24" Type="http://schemas.openxmlformats.org/officeDocument/2006/relationships/image" Target="../media/image14.emf"/><Relationship Id="rId5" Type="http://schemas.openxmlformats.org/officeDocument/2006/relationships/tags" Target="../tags/tag43.xml"/><Relationship Id="rId15" Type="http://schemas.openxmlformats.org/officeDocument/2006/relationships/tags" Target="../tags/tag53.xml"/><Relationship Id="rId23" Type="http://schemas.openxmlformats.org/officeDocument/2006/relationships/oleObject" Target="../embeddings/oleObject7.bin"/><Relationship Id="rId10" Type="http://schemas.openxmlformats.org/officeDocument/2006/relationships/tags" Target="../tags/tag48.xml"/><Relationship Id="rId19" Type="http://schemas.openxmlformats.org/officeDocument/2006/relationships/tags" Target="../tags/tag57.xml"/><Relationship Id="rId4" Type="http://schemas.openxmlformats.org/officeDocument/2006/relationships/tags" Target="../tags/tag42.xml"/><Relationship Id="rId9" Type="http://schemas.openxmlformats.org/officeDocument/2006/relationships/tags" Target="../tags/tag47.xml"/><Relationship Id="rId14" Type="http://schemas.openxmlformats.org/officeDocument/2006/relationships/tags" Target="../tags/tag52.xml"/><Relationship Id="rId22" Type="http://schemas.openxmlformats.org/officeDocument/2006/relationships/notesSlide" Target="../notesSlides/notesSlide5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65.xml"/><Relationship Id="rId13" Type="http://schemas.openxmlformats.org/officeDocument/2006/relationships/tags" Target="../tags/tag70.xml"/><Relationship Id="rId18" Type="http://schemas.openxmlformats.org/officeDocument/2006/relationships/image" Target="../media/image5.emf"/><Relationship Id="rId3" Type="http://schemas.openxmlformats.org/officeDocument/2006/relationships/tags" Target="../tags/tag60.xml"/><Relationship Id="rId21" Type="http://schemas.openxmlformats.org/officeDocument/2006/relationships/chart" Target="../charts/chart5.xml"/><Relationship Id="rId7" Type="http://schemas.openxmlformats.org/officeDocument/2006/relationships/tags" Target="../tags/tag64.xml"/><Relationship Id="rId12" Type="http://schemas.openxmlformats.org/officeDocument/2006/relationships/tags" Target="../tags/tag69.xml"/><Relationship Id="rId17" Type="http://schemas.openxmlformats.org/officeDocument/2006/relationships/oleObject" Target="../embeddings/oleObject8.bin"/><Relationship Id="rId2" Type="http://schemas.openxmlformats.org/officeDocument/2006/relationships/tags" Target="../tags/tag59.xml"/><Relationship Id="rId16" Type="http://schemas.openxmlformats.org/officeDocument/2006/relationships/slideLayout" Target="../slideLayouts/slideLayout5.xml"/><Relationship Id="rId20" Type="http://schemas.openxmlformats.org/officeDocument/2006/relationships/chart" Target="../charts/chart4.xml"/><Relationship Id="rId1" Type="http://schemas.openxmlformats.org/officeDocument/2006/relationships/vmlDrawing" Target="../drawings/vmlDrawing8.vml"/><Relationship Id="rId6" Type="http://schemas.openxmlformats.org/officeDocument/2006/relationships/tags" Target="../tags/tag63.xml"/><Relationship Id="rId11" Type="http://schemas.openxmlformats.org/officeDocument/2006/relationships/tags" Target="../tags/tag68.xml"/><Relationship Id="rId5" Type="http://schemas.openxmlformats.org/officeDocument/2006/relationships/tags" Target="../tags/tag62.xml"/><Relationship Id="rId15" Type="http://schemas.openxmlformats.org/officeDocument/2006/relationships/tags" Target="../tags/tag72.xml"/><Relationship Id="rId10" Type="http://schemas.openxmlformats.org/officeDocument/2006/relationships/tags" Target="../tags/tag67.xml"/><Relationship Id="rId19" Type="http://schemas.openxmlformats.org/officeDocument/2006/relationships/image" Target="../media/image10.png"/><Relationship Id="rId4" Type="http://schemas.openxmlformats.org/officeDocument/2006/relationships/tags" Target="../tags/tag61.xml"/><Relationship Id="rId9" Type="http://schemas.openxmlformats.org/officeDocument/2006/relationships/tags" Target="../tags/tag66.xml"/><Relationship Id="rId14" Type="http://schemas.openxmlformats.org/officeDocument/2006/relationships/tags" Target="../tags/tag71.xml"/><Relationship Id="rId22" Type="http://schemas.openxmlformats.org/officeDocument/2006/relationships/image" Target="../media/image2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79.xml"/><Relationship Id="rId13" Type="http://schemas.openxmlformats.org/officeDocument/2006/relationships/tags" Target="../tags/tag84.xml"/><Relationship Id="rId18" Type="http://schemas.openxmlformats.org/officeDocument/2006/relationships/oleObject" Target="../embeddings/oleObject9.bin"/><Relationship Id="rId3" Type="http://schemas.openxmlformats.org/officeDocument/2006/relationships/tags" Target="../tags/tag74.xml"/><Relationship Id="rId21" Type="http://schemas.openxmlformats.org/officeDocument/2006/relationships/chart" Target="../charts/chart6.xml"/><Relationship Id="rId7" Type="http://schemas.openxmlformats.org/officeDocument/2006/relationships/tags" Target="../tags/tag78.xml"/><Relationship Id="rId12" Type="http://schemas.openxmlformats.org/officeDocument/2006/relationships/tags" Target="../tags/tag83.xml"/><Relationship Id="rId17" Type="http://schemas.openxmlformats.org/officeDocument/2006/relationships/notesSlide" Target="../notesSlides/notesSlide6.xml"/><Relationship Id="rId2" Type="http://schemas.openxmlformats.org/officeDocument/2006/relationships/tags" Target="../tags/tag73.xml"/><Relationship Id="rId16" Type="http://schemas.openxmlformats.org/officeDocument/2006/relationships/slideLayout" Target="../slideLayouts/slideLayout5.xml"/><Relationship Id="rId20" Type="http://schemas.openxmlformats.org/officeDocument/2006/relationships/image" Target="../media/image10.png"/><Relationship Id="rId1" Type="http://schemas.openxmlformats.org/officeDocument/2006/relationships/vmlDrawing" Target="../drawings/vmlDrawing9.vml"/><Relationship Id="rId6" Type="http://schemas.openxmlformats.org/officeDocument/2006/relationships/tags" Target="../tags/tag77.xml"/><Relationship Id="rId11" Type="http://schemas.openxmlformats.org/officeDocument/2006/relationships/tags" Target="../tags/tag82.xml"/><Relationship Id="rId5" Type="http://schemas.openxmlformats.org/officeDocument/2006/relationships/tags" Target="../tags/tag76.xml"/><Relationship Id="rId15" Type="http://schemas.openxmlformats.org/officeDocument/2006/relationships/tags" Target="../tags/tag86.xml"/><Relationship Id="rId10" Type="http://schemas.openxmlformats.org/officeDocument/2006/relationships/tags" Target="../tags/tag81.xml"/><Relationship Id="rId19" Type="http://schemas.openxmlformats.org/officeDocument/2006/relationships/image" Target="../media/image19.emf"/><Relationship Id="rId4" Type="http://schemas.openxmlformats.org/officeDocument/2006/relationships/tags" Target="../tags/tag75.xml"/><Relationship Id="rId9" Type="http://schemas.openxmlformats.org/officeDocument/2006/relationships/tags" Target="../tags/tag80.xml"/><Relationship Id="rId14" Type="http://schemas.openxmlformats.org/officeDocument/2006/relationships/tags" Target="../tags/tag8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umeru slajdu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 rtl="0"/>
            <a:fld id="{022581BA-A277-4FE5-891C-DC92D7F0A26A}" type="slidenum">
              <a:rPr/>
              <a:pPr/>
              <a:t>1</a:t>
            </a:fld>
            <a:endParaRPr lang="en" dirty="0"/>
          </a:p>
        </p:txBody>
      </p:sp>
      <p:pic>
        <p:nvPicPr>
          <p:cNvPr id="3" name="Obraz 2" descr="Bez nazwy-10_Blik_pl_poziom_2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" y="0"/>
            <a:ext cx="10692384" cy="7559040"/>
          </a:xfrm>
          <a:prstGeom prst="rect">
            <a:avLst/>
          </a:prstGeom>
        </p:spPr>
      </p:pic>
      <p:pic>
        <p:nvPicPr>
          <p:cNvPr id="4" name="Obraz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4530" y="604237"/>
            <a:ext cx="2461024" cy="313221"/>
          </a:xfrm>
          <a:prstGeom prst="rect">
            <a:avLst/>
          </a:prstGeom>
        </p:spPr>
      </p:pic>
      <p:sp>
        <p:nvSpPr>
          <p:cNvPr id="6" name="object 5"/>
          <p:cNvSpPr txBox="1"/>
          <p:nvPr/>
        </p:nvSpPr>
        <p:spPr>
          <a:xfrm>
            <a:off x="6179855" y="1290582"/>
            <a:ext cx="3923261" cy="1095428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 algn="r" rtl="0">
              <a:lnSpc>
                <a:spcPct val="70000"/>
              </a:lnSpc>
              <a:spcBef>
                <a:spcPts val="95"/>
              </a:spcBef>
            </a:pPr>
            <a:r>
              <a:rPr lang="en" sz="4800" b="1" i="0" u="none" spc="-60" baseline="0">
                <a:solidFill>
                  <a:schemeClr val="tx1">
                    <a:lumMod val="65000"/>
                    <a:lumOff val="35000"/>
                  </a:schemeClr>
                </a:solidFill>
                <a:latin typeface="Myriad Pro"/>
                <a:ea typeface="Myriad Pro"/>
                <a:cs typeface="Myriad Pro"/>
              </a:rPr>
              <a:t>PKP CARGO GROUP</a:t>
            </a:r>
          </a:p>
          <a:p>
            <a:pPr marL="12700" marR="5080" algn="r" rtl="0">
              <a:lnSpc>
                <a:spcPct val="70000"/>
              </a:lnSpc>
              <a:spcBef>
                <a:spcPts val="95"/>
              </a:spcBef>
            </a:pPr>
            <a:endParaRPr sz="4800" b="1" dirty="0">
              <a:solidFill>
                <a:schemeClr val="tx1">
                  <a:lumMod val="65000"/>
                  <a:lumOff val="35000"/>
                </a:schemeClr>
              </a:solidFill>
              <a:latin typeface="Myriad Pro"/>
              <a:cs typeface="Myriad Pro"/>
            </a:endParaRPr>
          </a:p>
        </p:txBody>
      </p:sp>
      <p:sp>
        <p:nvSpPr>
          <p:cNvPr id="7" name="object 5"/>
          <p:cNvSpPr txBox="1"/>
          <p:nvPr/>
        </p:nvSpPr>
        <p:spPr>
          <a:xfrm>
            <a:off x="6179855" y="2320443"/>
            <a:ext cx="3923261" cy="105714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 algn="r" rtl="0">
              <a:lnSpc>
                <a:spcPct val="70000"/>
              </a:lnSpc>
              <a:spcBef>
                <a:spcPts val="95"/>
              </a:spcBef>
            </a:pPr>
            <a:r>
              <a:rPr lang="en" sz="4800" b="1" i="0" u="none" spc="-60" baseline="0">
                <a:solidFill>
                  <a:srgbClr val="3A4D98"/>
                </a:solidFill>
                <a:latin typeface="Myriad Pro"/>
                <a:ea typeface="Myriad Pro"/>
                <a:cs typeface="Myriad Pro"/>
              </a:rPr>
              <a:t>2021</a:t>
            </a:r>
            <a:r>
              <a:rPr lang="en" sz="4800" b="1" spc="-60">
                <a:solidFill>
                  <a:srgbClr val="3A4D98"/>
                </a:solidFill>
                <a:latin typeface="Myriad Pro"/>
                <a:cs typeface="Myriad Pro"/>
              </a:rPr>
              <a:t/>
            </a:r>
            <a:br>
              <a:rPr lang="en" sz="4800" b="1" spc="-60">
                <a:solidFill>
                  <a:srgbClr val="3A4D98"/>
                </a:solidFill>
                <a:latin typeface="Myriad Pro"/>
                <a:cs typeface="Myriad Pro"/>
              </a:rPr>
            </a:br>
            <a:r>
              <a:rPr lang="en" sz="4800" b="1" i="0" u="none" spc="-60" baseline="0">
                <a:solidFill>
                  <a:srgbClr val="3A4D98"/>
                </a:solidFill>
                <a:latin typeface="Myriad Pro"/>
                <a:ea typeface="Myriad Pro"/>
                <a:cs typeface="Myriad Pro"/>
              </a:rPr>
              <a:t> </a:t>
            </a:r>
            <a:endParaRPr sz="4800" b="1" dirty="0">
              <a:solidFill>
                <a:srgbClr val="3A4D98"/>
              </a:solidFill>
              <a:latin typeface="Myriad Pro"/>
              <a:cs typeface="Myriad Pro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umeru slajdu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 rtl="0"/>
            <a:fld id="{022581BA-A277-4FE5-891C-DC92D7F0A26A}" type="slidenum">
              <a:rPr/>
              <a:pPr algn="r" rtl="0"/>
              <a:t>10</a:t>
            </a:fld>
            <a:endParaRPr lang="en" dirty="0"/>
          </a:p>
        </p:txBody>
      </p:sp>
      <p:sp>
        <p:nvSpPr>
          <p:cNvPr id="13" name="Prostokąt 12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rtl="0"/>
            <a:endParaRPr lang="en" sz="1200" dirty="0">
              <a:latin typeface="Arial Black" panose="020B0A04020102020204" pitchFamily="34" charset="0"/>
              <a:sym typeface="Arial Black" panose="020B0A04020102020204" pitchFamily="34" charset="0"/>
            </a:endParaRPr>
          </a:p>
        </p:txBody>
      </p:sp>
      <p:graphicFrame>
        <p:nvGraphicFramePr>
          <p:cNvPr id="15" name="Obiekt 1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27710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954" name="think-cell Slide" r:id="rId19" imgW="384" imgH="384" progId="TCLayout.ActiveDocument.1">
                  <p:embed/>
                </p:oleObj>
              </mc:Choice>
              <mc:Fallback>
                <p:oleObj name="think-cell Slide" r:id="rId19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8" name="Obraz 47" descr="strzalka.png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114" y="798439"/>
            <a:ext cx="540000" cy="727158"/>
          </a:xfrm>
          <a:prstGeom prst="rect">
            <a:avLst/>
          </a:prstGeom>
        </p:spPr>
      </p:pic>
      <p:sp>
        <p:nvSpPr>
          <p:cNvPr id="53" name="object 3"/>
          <p:cNvSpPr txBox="1"/>
          <p:nvPr/>
        </p:nvSpPr>
        <p:spPr>
          <a:xfrm>
            <a:off x="1513320" y="802904"/>
            <a:ext cx="8015692" cy="3206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R="5080" algn="l" rtl="0">
              <a:lnSpc>
                <a:spcPct val="100000"/>
              </a:lnSpc>
              <a:spcBef>
                <a:spcPts val="100"/>
              </a:spcBef>
            </a:pPr>
            <a:r>
              <a:rPr lang="en" sz="2000" b="0" i="0" u="none" spc="-5" baseline="0">
                <a:solidFill>
                  <a:srgbClr val="3A4D98"/>
                </a:solidFill>
                <a:latin typeface="Myriad Pro"/>
                <a:ea typeface="Myriad Pro"/>
                <a:cs typeface="Myriad Pro"/>
              </a:rPr>
              <a:t>EBITDA in 2016-2021 </a:t>
            </a:r>
          </a:p>
        </p:txBody>
      </p:sp>
      <p:sp>
        <p:nvSpPr>
          <p:cNvPr id="44" name="pole tekstowe 43"/>
          <p:cNvSpPr txBox="1"/>
          <p:nvPr/>
        </p:nvSpPr>
        <p:spPr>
          <a:xfrm>
            <a:off x="7624021" y="1117092"/>
            <a:ext cx="2864154" cy="4801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rtl="0">
              <a:spcBef>
                <a:spcPts val="300"/>
              </a:spcBef>
              <a:spcAft>
                <a:spcPts val="300"/>
              </a:spcAft>
              <a:buClr>
                <a:srgbClr val="004F9F"/>
              </a:buClr>
            </a:pPr>
            <a:r>
              <a:rPr lang="en" sz="1100" b="1" i="0" u="none" baseline="0">
                <a:solidFill>
                  <a:srgbClr val="3A4D98"/>
                </a:solidFill>
                <a:latin typeface="Myriad pro"/>
                <a:ea typeface="Myriad pro"/>
                <a:cs typeface="Myriad pro"/>
              </a:rPr>
              <a:t>Key EBITDA drivers in 2021:</a:t>
            </a:r>
          </a:p>
          <a:p>
            <a:pPr marL="171450" indent="-171450" algn="l" rtl="0">
              <a:spcBef>
                <a:spcPts val="300"/>
              </a:spcBef>
              <a:spcAft>
                <a:spcPts val="300"/>
              </a:spcAft>
              <a:buClr>
                <a:srgbClr val="004F9F"/>
              </a:buClr>
              <a:buFont typeface="Wingdings" panose="05000000000000000000" pitchFamily="2" charset="2"/>
              <a:buChar char="§"/>
            </a:pPr>
            <a:r>
              <a:rPr lang="en" sz="1200" b="0" i="0" u="none" baseline="0">
                <a:solidFill>
                  <a:srgbClr val="3A4D98"/>
                </a:solidFill>
              </a:rPr>
              <a:t>increased scale of business with a simultaneous decline in unit freight rates (more intense competitive struggle in the transport market as a consequence of the COVID-19 pandemic)</a:t>
            </a:r>
          </a:p>
          <a:p>
            <a:pPr marL="171450" indent="-171450" algn="l" rtl="0">
              <a:spcBef>
                <a:spcPts val="300"/>
              </a:spcBef>
              <a:spcAft>
                <a:spcPts val="300"/>
              </a:spcAft>
              <a:buClr>
                <a:srgbClr val="004F9F"/>
              </a:buClr>
              <a:buFont typeface="Wingdings" panose="05000000000000000000" pitchFamily="2" charset="2"/>
              <a:buChar char="§"/>
            </a:pPr>
            <a:r>
              <a:rPr lang="en" sz="1200" b="0" i="0" u="none" baseline="0">
                <a:solidFill>
                  <a:srgbClr val="3A4D98"/>
                </a:solidFill>
              </a:rPr>
              <a:t>increase in variable costs (consumption of electricity and traction fuel and infrastructure access services) with simultaneously higher unit costs of traction fuel and energy</a:t>
            </a:r>
          </a:p>
          <a:p>
            <a:pPr marL="171450" indent="-171450" algn="l" rtl="0">
              <a:spcBef>
                <a:spcPts val="300"/>
              </a:spcBef>
              <a:spcAft>
                <a:spcPts val="300"/>
              </a:spcAft>
              <a:buClr>
                <a:srgbClr val="004F9F"/>
              </a:buClr>
              <a:buFont typeface="Wingdings" panose="05000000000000000000" pitchFamily="2" charset="2"/>
              <a:buChar char="§"/>
            </a:pPr>
            <a:r>
              <a:rPr lang="en" sz="1200" b="0" i="0" u="none" baseline="0">
                <a:solidFill>
                  <a:srgbClr val="3A4D98"/>
                </a:solidFill>
              </a:rPr>
              <a:t>decrease of employee benefits in connection with, among other factors, a decrease in the average headcount level by more than 1,000 people</a:t>
            </a:r>
          </a:p>
          <a:p>
            <a:pPr marL="171450" indent="-171450" algn="l" rtl="0">
              <a:spcBef>
                <a:spcPts val="300"/>
              </a:spcBef>
              <a:spcAft>
                <a:spcPts val="300"/>
              </a:spcAft>
              <a:buClr>
                <a:srgbClr val="004F9F"/>
              </a:buClr>
              <a:buFont typeface="Wingdings" panose="05000000000000000000" pitchFamily="2" charset="2"/>
              <a:buChar char="§"/>
            </a:pPr>
            <a:r>
              <a:rPr lang="en" sz="1200" b="0" i="0" u="none" baseline="0">
                <a:solidFill>
                  <a:srgbClr val="3A4D98"/>
                </a:solidFill>
              </a:rPr>
              <a:t>impact of non-recurring events – an effect of a high statistical base as a result of the receipt in 2020 of funding under the anti-crisis shield in the amount of PLN 115.2 million (decrease in other operating revenues on a yoy basis)</a:t>
            </a:r>
          </a:p>
        </p:txBody>
      </p:sp>
      <p:sp>
        <p:nvSpPr>
          <p:cNvPr id="54" name="object 48"/>
          <p:cNvSpPr txBox="1"/>
          <p:nvPr/>
        </p:nvSpPr>
        <p:spPr>
          <a:xfrm>
            <a:off x="1520405" y="1840286"/>
            <a:ext cx="3523929" cy="55656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3970" algn="l" rtl="0">
              <a:lnSpc>
                <a:spcPct val="100000"/>
              </a:lnSpc>
              <a:spcBef>
                <a:spcPts val="100"/>
              </a:spcBef>
            </a:pPr>
            <a:r>
              <a:rPr lang="en" sz="1200" b="1" i="0" u="none" spc="5" baseline="0">
                <a:solidFill>
                  <a:srgbClr val="3A4D98"/>
                </a:solidFill>
                <a:latin typeface="Myriad Pro"/>
                <a:ea typeface="Myriad Pro"/>
                <a:cs typeface="Myriad Pro"/>
              </a:rPr>
              <a:t>EBITDA OF THE PKP CARGO GROUP</a:t>
            </a:r>
          </a:p>
          <a:p>
            <a:pPr marL="13970" algn="l" rtl="0">
              <a:lnSpc>
                <a:spcPts val="1390"/>
              </a:lnSpc>
            </a:pPr>
            <a:r>
              <a:rPr lang="en" sz="1200" b="1" i="0" u="none" spc="5" baseline="0">
                <a:solidFill>
                  <a:srgbClr val="3A4D98"/>
                </a:solidFill>
                <a:latin typeface="Myriad Pro"/>
                <a:ea typeface="Myriad Pro"/>
                <a:cs typeface="Myriad Pro"/>
              </a:rPr>
              <a:t>2016-2021</a:t>
            </a:r>
          </a:p>
          <a:p>
            <a:pPr marL="12700" algn="l" rtl="0">
              <a:lnSpc>
                <a:spcPts val="1390"/>
              </a:lnSpc>
            </a:pPr>
            <a:r>
              <a:rPr lang="en" sz="1200" b="0" i="0" u="none" spc="-20" baseline="0">
                <a:solidFill>
                  <a:srgbClr val="454545"/>
                </a:solidFill>
                <a:latin typeface="Arial"/>
                <a:ea typeface="Arial"/>
                <a:cs typeface="Arial"/>
              </a:rPr>
              <a:t>PLN</a:t>
            </a:r>
            <a:r>
              <a:rPr lang="en" sz="1200" b="0" i="0" u="none" spc="-65" baseline="0">
                <a:solidFill>
                  <a:srgbClr val="454545"/>
                </a:solidFill>
                <a:latin typeface="Arial"/>
                <a:ea typeface="Arial"/>
                <a:cs typeface="Arial"/>
              </a:rPr>
              <a:t> </a:t>
            </a:r>
            <a:r>
              <a:rPr lang="en" sz="1200" b="0" i="0" u="none" spc="-35" baseline="0">
                <a:solidFill>
                  <a:srgbClr val="454545"/>
                </a:solidFill>
                <a:latin typeface="Arial"/>
                <a:ea typeface="Arial"/>
                <a:cs typeface="Arial"/>
              </a:rPr>
              <a:t>million</a:t>
            </a:r>
            <a:endParaRPr sz="1200" dirty="0">
              <a:solidFill>
                <a:srgbClr val="454545"/>
              </a:solidFill>
              <a:latin typeface="Arial"/>
              <a:cs typeface="Arial"/>
            </a:endParaRPr>
          </a:p>
        </p:txBody>
      </p:sp>
      <p:graphicFrame>
        <p:nvGraphicFramePr>
          <p:cNvPr id="38" name="Chart 3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463954148"/>
              </p:ext>
            </p:extLst>
          </p:nvPr>
        </p:nvGraphicFramePr>
        <p:xfrm>
          <a:off x="909638" y="2616200"/>
          <a:ext cx="6581775" cy="31400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sp>
        <p:nvSpPr>
          <p:cNvPr id="24" name="Prostokąt 23"/>
          <p:cNvSpPr/>
          <p:nvPr>
            <p:custDataLst>
              <p:tags r:id="rId5"/>
            </p:custDataLst>
          </p:nvPr>
        </p:nvSpPr>
        <p:spPr bwMode="gray">
          <a:xfrm>
            <a:off x="3489325" y="4103688"/>
            <a:ext cx="349250" cy="1651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4F9F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2225" tIns="0" rIns="22225" bIns="0" rtlCol="0" anchor="ctr"/>
          <a:lstStyle/>
          <a:p>
            <a:pPr algn="ctr" rtl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BF56C9D-681F-4768-A66E-BDA88EB3EF39}" type="datetime'907'">
              <a:rPr sz="1200">
                <a:solidFill>
                  <a:schemeClr val="bg1"/>
                </a:solidFill>
                <a:latin typeface="Arial Black" panose="020B0A04020102020204" pitchFamily="34" charset="0"/>
              </a:rPr>
              <a:pPr/>
              <a:t>907</a:t>
            </a:fld>
            <a:endParaRPr lang="en" sz="1200" dirty="0">
              <a:solidFill>
                <a:schemeClr val="bg1"/>
              </a:solidFill>
              <a:latin typeface="Arial Black" panose="020B0A040201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28" name="Prostokąt 27"/>
          <p:cNvSpPr/>
          <p:nvPr>
            <p:custDataLst>
              <p:tags r:id="rId6"/>
            </p:custDataLst>
          </p:nvPr>
        </p:nvSpPr>
        <p:spPr bwMode="gray">
          <a:xfrm>
            <a:off x="4559300" y="4179888"/>
            <a:ext cx="349250" cy="1651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4F9F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2225" tIns="0" rIns="22225" bIns="0" rtlCol="0" anchor="ctr"/>
          <a:lstStyle/>
          <a:p>
            <a:pPr algn="ctr" rtl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E51D358-0C3C-4AE7-A452-A1C788912198}" type="datetime'860'">
              <a:rPr sz="1200">
                <a:solidFill>
                  <a:schemeClr val="bg1"/>
                </a:solidFill>
                <a:latin typeface="Arial Black" panose="020B0A04020102020204" pitchFamily="34" charset="0"/>
              </a:rPr>
              <a:pPr/>
              <a:t>860</a:t>
            </a:fld>
            <a:endParaRPr lang="en" sz="1200" dirty="0">
              <a:solidFill>
                <a:schemeClr val="bg1"/>
              </a:solidFill>
              <a:latin typeface="Arial Black" panose="020B0A040201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25" name="Prostokąt 24"/>
          <p:cNvSpPr/>
          <p:nvPr>
            <p:custDataLst>
              <p:tags r:id="rId7"/>
            </p:custDataLst>
          </p:nvPr>
        </p:nvSpPr>
        <p:spPr bwMode="gray">
          <a:xfrm>
            <a:off x="2420938" y="4443413"/>
            <a:ext cx="349250" cy="1651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4F9F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2225" tIns="0" rIns="22225" bIns="0" rtlCol="0" anchor="ctr"/>
          <a:lstStyle/>
          <a:p>
            <a:pPr algn="ctr" rtl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6EE9145-0AE6-4922-8C62-836056B39F43}" type="datetime'700'">
              <a:rPr sz="1200">
                <a:solidFill>
                  <a:schemeClr val="bg1"/>
                </a:solidFill>
                <a:latin typeface="Arial Black" panose="020B0A04020102020204" pitchFamily="34" charset="0"/>
              </a:rPr>
              <a:pPr/>
              <a:t>700</a:t>
            </a:fld>
            <a:endParaRPr lang="en" sz="1200">
              <a:solidFill>
                <a:schemeClr val="bg1"/>
              </a:solidFill>
              <a:latin typeface="Arial Black" panose="020B0A040201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30" name="Prostokąt 29"/>
          <p:cNvSpPr/>
          <p:nvPr>
            <p:custDataLst>
              <p:tags r:id="rId8"/>
            </p:custDataLst>
          </p:nvPr>
        </p:nvSpPr>
        <p:spPr bwMode="gray">
          <a:xfrm>
            <a:off x="5629275" y="4640263"/>
            <a:ext cx="349250" cy="1651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4F9F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2225" tIns="0" rIns="22225" bIns="0" rtlCol="0" anchor="ctr"/>
          <a:lstStyle/>
          <a:p>
            <a:pPr algn="ctr" rtl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CC23A4B-2FCD-45EB-9004-7A6891C98CCA}" type="datetime'580'">
              <a:rPr sz="1200">
                <a:solidFill>
                  <a:schemeClr val="bg1"/>
                </a:solidFill>
                <a:latin typeface="Arial Black" panose="020B0A04020102020204" pitchFamily="34" charset="0"/>
              </a:rPr>
              <a:pPr/>
              <a:t>580</a:t>
            </a:fld>
            <a:endParaRPr lang="en" sz="1200" dirty="0">
              <a:solidFill>
                <a:schemeClr val="bg1"/>
              </a:solidFill>
              <a:latin typeface="Arial Black" panose="020B0A040201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37" name="Prostokąt 36"/>
          <p:cNvSpPr/>
          <p:nvPr>
            <p:custDataLst>
              <p:tags r:id="rId9"/>
            </p:custDataLst>
          </p:nvPr>
        </p:nvSpPr>
        <p:spPr bwMode="gray">
          <a:xfrm>
            <a:off x="6697663" y="4749800"/>
            <a:ext cx="349250" cy="1651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4F9F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2225" tIns="0" rIns="22225" bIns="0" rtlCol="0" anchor="ctr"/>
          <a:lstStyle/>
          <a:p>
            <a:pPr algn="ctr" rtl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53BC3EA-2CA8-41FE-9AD6-E16B7DDD75C5}" type="datetime'513'">
              <a:rPr sz="1200">
                <a:solidFill>
                  <a:schemeClr val="bg1"/>
                </a:solidFill>
                <a:latin typeface="Arial Black" panose="020B0A04020102020204" pitchFamily="34" charset="0"/>
              </a:rPr>
              <a:pPr/>
              <a:t>513</a:t>
            </a:fld>
            <a:endParaRPr lang="en" sz="1200" dirty="0">
              <a:solidFill>
                <a:schemeClr val="bg1"/>
              </a:solidFill>
              <a:latin typeface="Arial Black" panose="020B0A04020102020204" pitchFamily="34" charset="0"/>
              <a:sym typeface="+mn-lt"/>
            </a:endParaRPr>
          </a:p>
        </p:txBody>
      </p:sp>
      <p:sp>
        <p:nvSpPr>
          <p:cNvPr id="26" name="Prostokąt 25"/>
          <p:cNvSpPr/>
          <p:nvPr>
            <p:custDataLst>
              <p:tags r:id="rId10"/>
            </p:custDataLst>
          </p:nvPr>
        </p:nvSpPr>
        <p:spPr bwMode="gray">
          <a:xfrm>
            <a:off x="1350963" y="4787900"/>
            <a:ext cx="349250" cy="1651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4F9F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2225" tIns="0" rIns="22225" bIns="0" rtlCol="0" anchor="ctr"/>
          <a:lstStyle/>
          <a:p>
            <a:pPr algn="ctr" rtl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5D471418-8DF7-4601-9B89-336AB8D96475}" type="datetime'490'">
              <a:rPr sz="1200">
                <a:solidFill>
                  <a:schemeClr val="bg1"/>
                </a:solidFill>
                <a:latin typeface="Arial Black" panose="020B0A04020102020204" pitchFamily="34" charset="0"/>
              </a:rPr>
              <a:pPr/>
              <a:t>490</a:t>
            </a:fld>
            <a:endParaRPr lang="en" sz="1200" dirty="0">
              <a:solidFill>
                <a:schemeClr val="bg1"/>
              </a:solidFill>
              <a:latin typeface="Arial Black" panose="020B0A040201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21" name="Prostokąt 20"/>
          <p:cNvSpPr/>
          <p:nvPr>
            <p:custDataLst>
              <p:tags r:id="rId11"/>
            </p:custDataLst>
          </p:nvPr>
        </p:nvSpPr>
        <p:spPr bwMode="auto">
          <a:xfrm>
            <a:off x="1322388" y="5732463"/>
            <a:ext cx="40640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 rtl="0">
              <a:spcBef>
                <a:spcPct val="0"/>
              </a:spcBef>
              <a:spcAft>
                <a:spcPct val="0"/>
              </a:spcAft>
            </a:pPr>
            <a:fld id="{D521029F-64E1-48C0-957B-3F4EA4A6E785}" type="datetime'2016'">
              <a:rPr sz="1400" i="1">
                <a:solidFill>
                  <a:srgbClr val="555454"/>
                </a:solidFill>
                <a:latin typeface="Arial" panose="020B0604020202020204" pitchFamily="34" charset="0"/>
              </a:rPr>
              <a:pPr/>
              <a:t>2016</a:t>
            </a:fld>
            <a:endParaRPr lang="en" sz="1400" i="1">
              <a:solidFill>
                <a:srgbClr val="555454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Prostokąt 16"/>
          <p:cNvSpPr/>
          <p:nvPr>
            <p:custDataLst>
              <p:tags r:id="rId12"/>
            </p:custDataLst>
          </p:nvPr>
        </p:nvSpPr>
        <p:spPr bwMode="auto">
          <a:xfrm>
            <a:off x="2392363" y="5732463"/>
            <a:ext cx="40640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 rtl="0">
              <a:spcBef>
                <a:spcPct val="0"/>
              </a:spcBef>
              <a:spcAft>
                <a:spcPct val="0"/>
              </a:spcAft>
            </a:pPr>
            <a:fld id="{30057AE9-1C2A-4E6E-A7ED-16AA82DB31A1}" type="datetime'2017'">
              <a:rPr sz="1400" i="1">
                <a:solidFill>
                  <a:srgbClr val="555454"/>
                </a:solidFill>
                <a:latin typeface="Arial" panose="020B0604020202020204" pitchFamily="34" charset="0"/>
              </a:rPr>
              <a:pPr/>
              <a:t>2017</a:t>
            </a:fld>
            <a:endParaRPr lang="en" sz="1400" i="1">
              <a:solidFill>
                <a:srgbClr val="555454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" name="Prostokąt 26"/>
          <p:cNvSpPr/>
          <p:nvPr>
            <p:custDataLst>
              <p:tags r:id="rId13"/>
            </p:custDataLst>
          </p:nvPr>
        </p:nvSpPr>
        <p:spPr bwMode="auto">
          <a:xfrm>
            <a:off x="3460750" y="5732463"/>
            <a:ext cx="40640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 rtl="0">
              <a:spcBef>
                <a:spcPct val="0"/>
              </a:spcBef>
              <a:spcAft>
                <a:spcPct val="0"/>
              </a:spcAft>
            </a:pPr>
            <a:fld id="{36252016-363F-4E39-9A8C-262A6EB71415}" type="datetime'2018'">
              <a:rPr sz="1400" i="1">
                <a:solidFill>
                  <a:srgbClr val="555454"/>
                </a:solidFill>
                <a:latin typeface="Arial" panose="020B0604020202020204" pitchFamily="34" charset="0"/>
              </a:rPr>
              <a:pPr/>
              <a:t>2018</a:t>
            </a:fld>
            <a:endParaRPr lang="en" sz="1400" i="1">
              <a:solidFill>
                <a:srgbClr val="555454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9" name="Prostokąt 28"/>
          <p:cNvSpPr/>
          <p:nvPr>
            <p:custDataLst>
              <p:tags r:id="rId14"/>
            </p:custDataLst>
          </p:nvPr>
        </p:nvSpPr>
        <p:spPr bwMode="auto">
          <a:xfrm>
            <a:off x="4530725" y="5732463"/>
            <a:ext cx="40640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 rtl="0">
              <a:spcBef>
                <a:spcPct val="0"/>
              </a:spcBef>
              <a:spcAft>
                <a:spcPct val="0"/>
              </a:spcAft>
            </a:pPr>
            <a:fld id="{1A760D61-A33A-432E-8817-A5EC4C2C4E76}" type="datetime'2019'">
              <a:rPr sz="1400" i="1">
                <a:solidFill>
                  <a:srgbClr val="555454"/>
                </a:solidFill>
                <a:latin typeface="Arial" panose="020B0604020202020204" pitchFamily="34" charset="0"/>
              </a:rPr>
              <a:pPr/>
              <a:t>2019</a:t>
            </a:fld>
            <a:endParaRPr lang="en" sz="1400" i="1">
              <a:solidFill>
                <a:srgbClr val="555454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1" name="Prostokąt 30"/>
          <p:cNvSpPr/>
          <p:nvPr>
            <p:custDataLst>
              <p:tags r:id="rId15"/>
            </p:custDataLst>
          </p:nvPr>
        </p:nvSpPr>
        <p:spPr bwMode="auto">
          <a:xfrm>
            <a:off x="5600700" y="5732463"/>
            <a:ext cx="40640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 rtl="0">
              <a:spcBef>
                <a:spcPct val="0"/>
              </a:spcBef>
              <a:spcAft>
                <a:spcPct val="0"/>
              </a:spcAft>
            </a:pPr>
            <a:fld id="{A5AEA3E6-E833-4363-817E-EAD2AA9A8C92}" type="datetime'2020'">
              <a:rPr sz="1400" i="1">
                <a:solidFill>
                  <a:srgbClr val="555454"/>
                </a:solidFill>
                <a:latin typeface="Arial" panose="020B0604020202020204" pitchFamily="34" charset="0"/>
              </a:rPr>
              <a:pPr/>
              <a:t>2020</a:t>
            </a:fld>
            <a:endParaRPr lang="en" sz="1400" i="1">
              <a:solidFill>
                <a:srgbClr val="555454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5" name="Prostokąt 34"/>
          <p:cNvSpPr/>
          <p:nvPr>
            <p:custDataLst>
              <p:tags r:id="rId16"/>
            </p:custDataLst>
          </p:nvPr>
        </p:nvSpPr>
        <p:spPr bwMode="auto">
          <a:xfrm>
            <a:off x="6669088" y="5732463"/>
            <a:ext cx="40640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 rtl="0">
              <a:spcBef>
                <a:spcPct val="0"/>
              </a:spcBef>
              <a:spcAft>
                <a:spcPct val="0"/>
              </a:spcAft>
            </a:pPr>
            <a:fld id="{7BF67F06-232F-43D5-8E16-626B674EDE6F}" type="datetime'2021'">
              <a:rPr sz="1400" i="1">
                <a:solidFill>
                  <a:srgbClr val="555454"/>
                </a:solidFill>
                <a:latin typeface="Arial" panose="020B0604020202020204" pitchFamily="34" charset="0"/>
              </a:rPr>
              <a:pPr/>
              <a:t>2021</a:t>
            </a:fld>
            <a:endParaRPr lang="en" sz="1400" i="1">
              <a:solidFill>
                <a:srgbClr val="555454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" name="pole tekstowe 18"/>
          <p:cNvSpPr txBox="1"/>
          <p:nvPr/>
        </p:nvSpPr>
        <p:spPr>
          <a:xfrm>
            <a:off x="675114" y="7182693"/>
            <a:ext cx="946750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rtl="0"/>
            <a:r>
              <a:rPr lang="en" sz="900" b="0" i="1" u="none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To facilitate the reading of this presentation, some figures have been rounded off, which may cause negligible deviations in the presented data.</a:t>
            </a:r>
          </a:p>
        </p:txBody>
      </p:sp>
    </p:spTree>
    <p:extLst>
      <p:ext uri="{BB962C8B-B14F-4D97-AF65-F5344CB8AC3E}">
        <p14:creationId xmlns:p14="http://schemas.microsoft.com/office/powerpoint/2010/main" val="237128040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numeru slajdu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 rtl="0"/>
            <a:fld id="{022581BA-A277-4FE5-891C-DC92D7F0A26A}" type="slidenum">
              <a:rPr/>
              <a:pPr algn="r" rtl="0"/>
              <a:t>11</a:t>
            </a:fld>
            <a:endParaRPr lang="en" dirty="0"/>
          </a:p>
        </p:txBody>
      </p:sp>
      <p:sp>
        <p:nvSpPr>
          <p:cNvPr id="13" name="Prostokąt 12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rtl="0"/>
            <a:endParaRPr lang="en" sz="9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Rectangle 7"/>
          <p:cNvSpPr>
            <a:spLocks noChangeArrowheads="1"/>
          </p:cNvSpPr>
          <p:nvPr/>
        </p:nvSpPr>
        <p:spPr bwMode="auto">
          <a:xfrm>
            <a:off x="0" y="0"/>
            <a:ext cx="106934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algn="just" defTabSz="914400" rtl="0" eaLnBrk="0" fontAlgn="base" hangingPunct="0">
              <a:spcBef>
                <a:spcPct val="0"/>
              </a:spcBef>
              <a:spcAft>
                <a:spcPct val="0"/>
              </a:spcAft>
            </a:pPr>
            <a:endParaRPr lang="en" altLang="pl-PL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sp>
        <p:nvSpPr>
          <p:cNvPr id="4" name="Rectangle 11"/>
          <p:cNvSpPr>
            <a:spLocks noChangeArrowheads="1"/>
          </p:cNvSpPr>
          <p:nvPr/>
        </p:nvSpPr>
        <p:spPr bwMode="auto">
          <a:xfrm>
            <a:off x="0" y="0"/>
            <a:ext cx="106934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algn="just" defTabSz="914400" rtl="0" eaLnBrk="0" fontAlgn="base" hangingPunct="0">
              <a:spcBef>
                <a:spcPct val="0"/>
              </a:spcBef>
              <a:spcAft>
                <a:spcPct val="0"/>
              </a:spcAft>
            </a:pPr>
            <a:endParaRPr lang="en" altLang="pl-PL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15" name="Obiekt 1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2891586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569" name="think-cell Slide" r:id="rId23" imgW="384" imgH="384" progId="TCLayout.ActiveDocument.1">
                  <p:embed/>
                </p:oleObj>
              </mc:Choice>
              <mc:Fallback>
                <p:oleObj name="think-cell Slide" r:id="rId23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1" name="Obraz 70" descr="strzalka.png"/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114" y="798439"/>
            <a:ext cx="540000" cy="727158"/>
          </a:xfrm>
          <a:prstGeom prst="rect">
            <a:avLst/>
          </a:prstGeom>
        </p:spPr>
      </p:pic>
      <p:sp>
        <p:nvSpPr>
          <p:cNvPr id="72" name="object 3"/>
          <p:cNvSpPr txBox="1"/>
          <p:nvPr/>
        </p:nvSpPr>
        <p:spPr>
          <a:xfrm>
            <a:off x="1513320" y="802904"/>
            <a:ext cx="8185316" cy="3206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algn="l" rtl="0">
              <a:spcBef>
                <a:spcPts val="100"/>
              </a:spcBef>
            </a:pPr>
            <a:r>
              <a:rPr lang="en" sz="2000" b="0" i="0" u="none" spc="-5" baseline="0">
                <a:solidFill>
                  <a:srgbClr val="3A4D98"/>
                </a:solidFill>
                <a:latin typeface="Myriad Pro"/>
                <a:ea typeface="Myriad Pro"/>
                <a:cs typeface="Myriad Pro"/>
              </a:rPr>
              <a:t>Balance sheet structure and funding sources</a:t>
            </a:r>
            <a:endParaRPr lang="en" sz="2000" dirty="0">
              <a:solidFill>
                <a:srgbClr val="3A4D98"/>
              </a:solidFill>
              <a:latin typeface="Myriad Pro"/>
              <a:cs typeface="Myriad Pro"/>
            </a:endParaRPr>
          </a:p>
        </p:txBody>
      </p:sp>
      <p:sp>
        <p:nvSpPr>
          <p:cNvPr id="43" name="object 48"/>
          <p:cNvSpPr txBox="1"/>
          <p:nvPr/>
        </p:nvSpPr>
        <p:spPr>
          <a:xfrm>
            <a:off x="821733" y="1679124"/>
            <a:ext cx="4982719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3970" algn="l" rtl="0">
              <a:spcBef>
                <a:spcPts val="100"/>
              </a:spcBef>
            </a:pPr>
            <a:r>
              <a:rPr lang="en" sz="1200" b="1" i="0" u="none" spc="5" baseline="0">
                <a:solidFill>
                  <a:srgbClr val="3A4D98"/>
                </a:solidFill>
                <a:latin typeface="Myriad Pro" panose="020B0503030403020204" pitchFamily="34" charset="0"/>
                <a:cs typeface="Myriad Pro"/>
              </a:rPr>
              <a:t>KEY BALANCE SHEET ITEMS</a:t>
            </a:r>
            <a:endParaRPr sz="1200" dirty="0">
              <a:solidFill>
                <a:srgbClr val="454545"/>
              </a:solidFill>
              <a:latin typeface="Myriad Pro" panose="020B0503030403020204" pitchFamily="34" charset="0"/>
              <a:cs typeface="Arial"/>
            </a:endParaRPr>
          </a:p>
        </p:txBody>
      </p:sp>
      <p:sp>
        <p:nvSpPr>
          <p:cNvPr id="73" name="object 48"/>
          <p:cNvSpPr txBox="1"/>
          <p:nvPr/>
        </p:nvSpPr>
        <p:spPr>
          <a:xfrm>
            <a:off x="6010828" y="1679124"/>
            <a:ext cx="3924000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3970" algn="l" rtl="0">
              <a:spcBef>
                <a:spcPts val="100"/>
              </a:spcBef>
            </a:pPr>
            <a:r>
              <a:rPr lang="en" sz="1200" b="1" i="0" u="none" spc="5" baseline="0">
                <a:solidFill>
                  <a:srgbClr val="3A4D98"/>
                </a:solidFill>
                <a:latin typeface="Myriad Pro" panose="020B0503030403020204" pitchFamily="34" charset="0"/>
                <a:cs typeface="Myriad Pro"/>
              </a:rPr>
              <a:t>FINANCIAL RATIOS</a:t>
            </a:r>
            <a:endParaRPr sz="1200" b="1" spc="5" dirty="0">
              <a:solidFill>
                <a:srgbClr val="3A4D98"/>
              </a:solidFill>
              <a:latin typeface="Myriad Pro" panose="020B0503030403020204" pitchFamily="34" charset="0"/>
              <a:cs typeface="Myriad Pro"/>
            </a:endParaRPr>
          </a:p>
        </p:txBody>
      </p:sp>
      <p:graphicFrame>
        <p:nvGraphicFramePr>
          <p:cNvPr id="67" name="Tabela 6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59150777"/>
              </p:ext>
            </p:extLst>
          </p:nvPr>
        </p:nvGraphicFramePr>
        <p:xfrm>
          <a:off x="813807" y="1959732"/>
          <a:ext cx="4856950" cy="2160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48002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31913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289814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360000">
                <a:tc>
                  <a:txBody>
                    <a:bodyPr/>
                    <a:lstStyle/>
                    <a:p>
                      <a:pPr algn="l" rtl="0"/>
                      <a:r>
                        <a:rPr lang="en" sz="1200" b="1" i="0" u="none" strike="noStrike" baseline="0">
                          <a:solidFill>
                            <a:srgbClr val="3A4D98"/>
                          </a:solidFill>
                          <a:effectLst/>
                          <a:latin typeface="Myriad Pro" panose="020B0503030403020204" pitchFamily="34" charset="0"/>
                          <a:ea typeface="+mn-ea"/>
                          <a:cs typeface="+mn-cs"/>
                        </a:rPr>
                        <a:t>PLN million</a:t>
                      </a:r>
                    </a:p>
                  </a:txBody>
                  <a:tcPr marL="39600" marR="40789" marT="28800" marB="288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" sz="1200" b="1" i="0" u="none" strike="noStrike" baseline="0" dirty="0">
                          <a:solidFill>
                            <a:srgbClr val="3A4D98"/>
                          </a:solidFill>
                          <a:effectLst/>
                          <a:latin typeface="Myriad Pro" panose="020B0503030403020204" pitchFamily="34" charset="0"/>
                          <a:ea typeface="+mn-ea"/>
                          <a:cs typeface="+mn-cs"/>
                        </a:rPr>
                        <a:t>31 Dec 2020</a:t>
                      </a:r>
                    </a:p>
                  </a:txBody>
                  <a:tcPr marL="9525" marR="9525" marT="9525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" sz="1200" b="1" i="0" u="none" strike="noStrike" baseline="0" dirty="0">
                          <a:solidFill>
                            <a:srgbClr val="3A4D98"/>
                          </a:solidFill>
                          <a:effectLst/>
                          <a:latin typeface="Myriad Pro" panose="020B0503030403020204" pitchFamily="34" charset="0"/>
                          <a:ea typeface="+mn-ea"/>
                          <a:cs typeface="+mn-cs"/>
                        </a:rPr>
                        <a:t>31 Dec 2021</a:t>
                      </a:r>
                    </a:p>
                  </a:txBody>
                  <a:tcPr marL="9525" marR="9525" marT="9525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l" rtl="0"/>
                      <a:r>
                        <a:rPr lang="en" sz="1200" b="0" i="0" u="none" baseline="0">
                          <a:solidFill>
                            <a:srgbClr val="3A4D98"/>
                          </a:solidFill>
                          <a:latin typeface="Myriad Pro" panose="020B0503030403020204" pitchFamily="34" charset="0"/>
                          <a:ea typeface="Myriad Pro" panose="020B0503030403020204" pitchFamily="34" charset="0"/>
                          <a:cs typeface="Myriad Pro" panose="020B0503030403020204" pitchFamily="34" charset="0"/>
                        </a:rPr>
                        <a:t>Fixed capital</a:t>
                      </a:r>
                    </a:p>
                  </a:txBody>
                  <a:tcPr marL="39600" marR="40789" marT="28800" marB="288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" sz="1200" b="0" i="0" u="none" strike="noStrike" baseline="0">
                          <a:solidFill>
                            <a:srgbClr val="3A4D98"/>
                          </a:solidFill>
                          <a:effectLst/>
                          <a:latin typeface="Myriad Pro" panose="020B0503030403020204" pitchFamily="34" charset="0"/>
                          <a:ea typeface="Myriad Pro" panose="020B0503030403020204" pitchFamily="34" charset="0"/>
                          <a:cs typeface="Myriad Pro" panose="020B0503030403020204" pitchFamily="34" charset="0"/>
                        </a:rPr>
                        <a:t>6,173.3</a:t>
                      </a:r>
                    </a:p>
                  </a:txBody>
                  <a:tcPr marL="9525" marR="9525" marT="9525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" sz="1200" b="0" i="0" u="none" strike="noStrike" baseline="0">
                          <a:solidFill>
                            <a:srgbClr val="3A4D98"/>
                          </a:solidFill>
                          <a:effectLst/>
                          <a:latin typeface="Myriad Pro" panose="020B0503030403020204" pitchFamily="34" charset="0"/>
                          <a:ea typeface="Myriad Pro" panose="020B0503030403020204" pitchFamily="34" charset="0"/>
                          <a:cs typeface="Myriad Pro" panose="020B0503030403020204" pitchFamily="34" charset="0"/>
                        </a:rPr>
                        <a:t>5,874.4</a:t>
                      </a:r>
                    </a:p>
                  </a:txBody>
                  <a:tcPr marL="9525" marR="9525" marT="9525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l" rtl="0"/>
                      <a:r>
                        <a:rPr lang="en" sz="1200" b="0" i="0" u="none" baseline="0" dirty="0">
                          <a:solidFill>
                            <a:srgbClr val="3A4D98"/>
                          </a:solidFill>
                          <a:latin typeface="Myriad Pro" panose="020B0503030403020204" pitchFamily="34" charset="0"/>
                          <a:ea typeface="Myriad Pro" panose="020B0503030403020204" pitchFamily="34" charset="0"/>
                          <a:cs typeface="Myriad Pro" panose="020B0503030403020204" pitchFamily="34" charset="0"/>
                        </a:rPr>
                        <a:t>Non-current assets</a:t>
                      </a:r>
                    </a:p>
                  </a:txBody>
                  <a:tcPr marL="39600" marR="40789" marT="28800" marB="28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" sz="1200" b="0" i="0" u="none" strike="noStrike" baseline="0">
                          <a:solidFill>
                            <a:srgbClr val="3A4D98"/>
                          </a:solidFill>
                          <a:effectLst/>
                          <a:latin typeface="Myriad Pro" panose="020B0503030403020204" pitchFamily="34" charset="0"/>
                          <a:ea typeface="Myriad Pro" panose="020B0503030403020204" pitchFamily="34" charset="0"/>
                          <a:cs typeface="Myriad Pro" panose="020B0503030403020204" pitchFamily="34" charset="0"/>
                        </a:rPr>
                        <a:t>6,397.4</a:t>
                      </a:r>
                    </a:p>
                  </a:txBody>
                  <a:tcPr marL="9525" marR="9525" marT="9525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" sz="1200" b="0" i="0" u="none" strike="noStrike" baseline="0">
                          <a:solidFill>
                            <a:srgbClr val="3A4D98"/>
                          </a:solidFill>
                          <a:effectLst/>
                          <a:latin typeface="Myriad Pro" panose="020B0503030403020204" pitchFamily="34" charset="0"/>
                          <a:ea typeface="Myriad Pro" panose="020B0503030403020204" pitchFamily="34" charset="0"/>
                          <a:cs typeface="Myriad Pro" panose="020B0503030403020204" pitchFamily="34" charset="0"/>
                        </a:rPr>
                        <a:t>6,458.7</a:t>
                      </a:r>
                    </a:p>
                  </a:txBody>
                  <a:tcPr marL="9525" marR="9525" marT="9525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l" rtl="0"/>
                      <a:r>
                        <a:rPr lang="en" sz="1200" b="0" i="0" u="none" baseline="0">
                          <a:solidFill>
                            <a:srgbClr val="3A4D98"/>
                          </a:solidFill>
                          <a:latin typeface="Myriad Pro" panose="020B0503030403020204" pitchFamily="34" charset="0"/>
                          <a:ea typeface="Myriad Pro" panose="020B0503030403020204" pitchFamily="34" charset="0"/>
                          <a:cs typeface="Myriad Pro" panose="020B0503030403020204" pitchFamily="34" charset="0"/>
                        </a:rPr>
                        <a:t>Coverage ratio</a:t>
                      </a:r>
                      <a:r>
                        <a:rPr lang="en" sz="1200" b="0" i="0" u="none" baseline="30000">
                          <a:solidFill>
                            <a:srgbClr val="3A4D98"/>
                          </a:solidFill>
                          <a:latin typeface="Myriad Pro" panose="020B0503030403020204" pitchFamily="34" charset="0"/>
                          <a:ea typeface="Myriad Pro" panose="020B0503030403020204" pitchFamily="34" charset="0"/>
                          <a:cs typeface="Myriad Pro" panose="020B0503030403020204" pitchFamily="34" charset="0"/>
                        </a:rPr>
                        <a:t>1</a:t>
                      </a:r>
                    </a:p>
                  </a:txBody>
                  <a:tcPr marL="39600" marR="40789" marT="28800" marB="28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" sz="1200" b="0" i="0" u="none" strike="noStrike" baseline="0">
                          <a:solidFill>
                            <a:srgbClr val="3A4D98"/>
                          </a:solidFill>
                          <a:effectLst/>
                          <a:latin typeface="Myriad Pro" panose="020B0503030403020204" pitchFamily="34" charset="0"/>
                          <a:ea typeface="Myriad Pro" panose="020B0503030403020204" pitchFamily="34" charset="0"/>
                          <a:cs typeface="Myriad Pro" panose="020B0503030403020204" pitchFamily="34" charset="0"/>
                        </a:rPr>
                        <a:t>0.96</a:t>
                      </a:r>
                    </a:p>
                  </a:txBody>
                  <a:tcPr marL="9525" marR="9525" marT="9525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" sz="1200" b="0" i="0" u="none" strike="noStrike" baseline="0">
                          <a:solidFill>
                            <a:srgbClr val="3A4D98"/>
                          </a:solidFill>
                          <a:effectLst/>
                          <a:latin typeface="Myriad Pro" panose="020B0503030403020204" pitchFamily="34" charset="0"/>
                          <a:ea typeface="Myriad Pro" panose="020B0503030403020204" pitchFamily="34" charset="0"/>
                          <a:cs typeface="Myriad Pro" panose="020B0503030403020204" pitchFamily="34" charset="0"/>
                        </a:rPr>
                        <a:t>0.91</a:t>
                      </a:r>
                    </a:p>
                  </a:txBody>
                  <a:tcPr marL="9525" marR="9525" marT="9525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l" rtl="0"/>
                      <a:r>
                        <a:rPr lang="en" sz="1200" b="0" i="0" u="none" baseline="0">
                          <a:solidFill>
                            <a:srgbClr val="3A4D98"/>
                          </a:solidFill>
                          <a:latin typeface="Myriad Pro" panose="020B0503030403020204" pitchFamily="34" charset="0"/>
                          <a:ea typeface="Myriad Pro" panose="020B0503030403020204" pitchFamily="34" charset="0"/>
                          <a:cs typeface="Myriad Pro" panose="020B0503030403020204" pitchFamily="34" charset="0"/>
                        </a:rPr>
                        <a:t>Total debt</a:t>
                      </a:r>
                    </a:p>
                  </a:txBody>
                  <a:tcPr marL="39600" marR="40789" marT="28800" marB="28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" sz="1200" b="0" i="0" u="none" strike="noStrike" baseline="0">
                          <a:solidFill>
                            <a:srgbClr val="3A4D98"/>
                          </a:solidFill>
                          <a:effectLst/>
                          <a:latin typeface="Myriad Pro" panose="020B0503030403020204" pitchFamily="34" charset="0"/>
                          <a:ea typeface="Myriad Pro" panose="020B0503030403020204" pitchFamily="34" charset="0"/>
                          <a:cs typeface="Myriad Pro" panose="020B0503030403020204" pitchFamily="34" charset="0"/>
                        </a:rPr>
                        <a:t>4,415.6</a:t>
                      </a:r>
                    </a:p>
                  </a:txBody>
                  <a:tcPr marL="9525" marR="9525" marT="9525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" sz="1200" b="0" i="0" u="none" strike="noStrike" baseline="0">
                          <a:solidFill>
                            <a:srgbClr val="3A4D98"/>
                          </a:solidFill>
                          <a:effectLst/>
                          <a:latin typeface="Myriad Pro" panose="020B0503030403020204" pitchFamily="34" charset="0"/>
                          <a:ea typeface="Myriad Pro" panose="020B0503030403020204" pitchFamily="34" charset="0"/>
                          <a:cs typeface="Myriad Pro" panose="020B0503030403020204" pitchFamily="34" charset="0"/>
                        </a:rPr>
                        <a:t>4,572.8</a:t>
                      </a:r>
                    </a:p>
                  </a:txBody>
                  <a:tcPr marL="9525" marR="9525" marT="9525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l" rtl="0"/>
                      <a:r>
                        <a:rPr lang="en" sz="1200" b="0" i="0" u="none" baseline="0">
                          <a:solidFill>
                            <a:srgbClr val="3A4D98"/>
                          </a:solidFill>
                          <a:latin typeface="Myriad Pro" panose="020B0503030403020204" pitchFamily="34" charset="0"/>
                          <a:ea typeface="Myriad Pro" panose="020B0503030403020204" pitchFamily="34" charset="0"/>
                          <a:cs typeface="Myriad Pro" panose="020B0503030403020204" pitchFamily="34" charset="0"/>
                        </a:rPr>
                        <a:t>Total debt ratio</a:t>
                      </a:r>
                    </a:p>
                  </a:txBody>
                  <a:tcPr marL="39600" marR="40789" marT="28800" marB="28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" sz="1200" b="0" i="0" u="none" strike="noStrike" baseline="0">
                          <a:solidFill>
                            <a:srgbClr val="3A4D98"/>
                          </a:solidFill>
                          <a:effectLst/>
                          <a:latin typeface="Myriad Pro" panose="020B0503030403020204" pitchFamily="34" charset="0"/>
                          <a:ea typeface="Myriad Pro" panose="020B0503030403020204" pitchFamily="34" charset="0"/>
                          <a:cs typeface="Myriad Pro" panose="020B0503030403020204" pitchFamily="34" charset="0"/>
                        </a:rPr>
                        <a:t>0.58</a:t>
                      </a:r>
                    </a:p>
                  </a:txBody>
                  <a:tcPr marL="9525" marR="9525" marT="9525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" sz="1200" b="0" i="0" u="none" strike="noStrike" baseline="0" dirty="0">
                          <a:solidFill>
                            <a:srgbClr val="3A4D98"/>
                          </a:solidFill>
                          <a:effectLst/>
                          <a:latin typeface="Myriad Pro" panose="020B0503030403020204" pitchFamily="34" charset="0"/>
                          <a:ea typeface="Myriad Pro" panose="020B0503030403020204" pitchFamily="34" charset="0"/>
                          <a:cs typeface="Myriad Pro" panose="020B0503030403020204" pitchFamily="34" charset="0"/>
                        </a:rPr>
                        <a:t>0.60</a:t>
                      </a:r>
                    </a:p>
                  </a:txBody>
                  <a:tcPr marL="9525" marR="9525" marT="9525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</a:tbl>
          </a:graphicData>
        </a:graphic>
      </p:graphicFrame>
      <p:graphicFrame>
        <p:nvGraphicFramePr>
          <p:cNvPr id="74" name="Tabela 7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92184147"/>
              </p:ext>
            </p:extLst>
          </p:nvPr>
        </p:nvGraphicFramePr>
        <p:xfrm>
          <a:off x="6028660" y="1959890"/>
          <a:ext cx="3920442" cy="1440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36442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26000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224000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360000">
                <a:tc>
                  <a:txBody>
                    <a:bodyPr/>
                    <a:lstStyle/>
                    <a:p>
                      <a:pPr algn="l" rtl="0"/>
                      <a:endParaRPr lang="en" sz="1200" b="1" dirty="0">
                        <a:solidFill>
                          <a:srgbClr val="555454"/>
                        </a:solidFill>
                        <a:latin typeface="Myriad Pro" panose="020B0503030403020204" pitchFamily="34" charset="0"/>
                      </a:endParaRPr>
                    </a:p>
                  </a:txBody>
                  <a:tcPr marL="39600" marR="40789" marT="28800" marB="288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" sz="1200" b="1" i="0" u="none" strike="noStrike" baseline="0">
                          <a:solidFill>
                            <a:srgbClr val="3A4D98"/>
                          </a:solidFill>
                          <a:effectLst/>
                          <a:latin typeface="Myriad Pro" panose="020B0503030403020204" pitchFamily="34" charset="0"/>
                          <a:ea typeface="+mn-ea"/>
                          <a:cs typeface="+mn-cs"/>
                        </a:rPr>
                        <a:t>2020</a:t>
                      </a:r>
                    </a:p>
                  </a:txBody>
                  <a:tcPr marL="9525" marR="9525" marT="9525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" sz="1200" b="1" i="0" u="none" strike="noStrike" baseline="0">
                          <a:solidFill>
                            <a:srgbClr val="3A4D98"/>
                          </a:solidFill>
                          <a:effectLst/>
                          <a:latin typeface="Myriad Pro" panose="020B0503030403020204" pitchFamily="34" charset="0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9525" marR="9525" marT="9525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l" rtl="0"/>
                      <a:r>
                        <a:rPr lang="en" sz="1200" b="0" i="0" u="none" strike="noStrike" baseline="0" dirty="0">
                          <a:solidFill>
                            <a:srgbClr val="3A4D98"/>
                          </a:solidFill>
                          <a:effectLst/>
                          <a:latin typeface="Myriad Pro" panose="020B0503030403020204" pitchFamily="34" charset="0"/>
                          <a:ea typeface="+mn-ea"/>
                          <a:cs typeface="+mn-cs"/>
                        </a:rPr>
                        <a:t>ROA</a:t>
                      </a:r>
                      <a:r>
                        <a:rPr lang="en" sz="1200" b="0" i="0" u="none" strike="noStrike" baseline="30000" dirty="0">
                          <a:solidFill>
                            <a:srgbClr val="3A4D98"/>
                          </a:solidFill>
                          <a:effectLst/>
                          <a:latin typeface="Myriad Pro" panose="020B0503030403020204" pitchFamily="34" charset="0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39600" marR="40789" marT="28800" marB="288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fontAlgn="ctr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strike="noStrike" baseline="0">
                          <a:solidFill>
                            <a:srgbClr val="3A4D98"/>
                          </a:solidFill>
                          <a:effectLst/>
                          <a:latin typeface="Myriad Pro" panose="020B0503030403020204" pitchFamily="34" charset="0"/>
                          <a:ea typeface="+mn-ea"/>
                          <a:cs typeface="+mn-cs"/>
                        </a:rPr>
                        <a:t>-3.0%</a:t>
                      </a:r>
                    </a:p>
                  </a:txBody>
                  <a:tcPr marL="44450" marR="4445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fontAlgn="ctr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strike="noStrike" baseline="0">
                          <a:solidFill>
                            <a:srgbClr val="3A4D98"/>
                          </a:solidFill>
                          <a:effectLst/>
                          <a:latin typeface="Myriad Pro" panose="020B0503030403020204" pitchFamily="34" charset="0"/>
                          <a:ea typeface="+mn-ea"/>
                          <a:cs typeface="+mn-cs"/>
                        </a:rPr>
                        <a:t>-3.0%</a:t>
                      </a:r>
                    </a:p>
                  </a:txBody>
                  <a:tcPr marL="44450" marR="4445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l" rtl="0"/>
                      <a:r>
                        <a:rPr lang="en" sz="1200" b="0" i="0" u="none" strike="noStrike" baseline="0" dirty="0">
                          <a:solidFill>
                            <a:srgbClr val="3A4D98"/>
                          </a:solidFill>
                          <a:effectLst/>
                          <a:latin typeface="Myriad Pro" panose="020B0503030403020204" pitchFamily="34" charset="0"/>
                          <a:ea typeface="+mn-ea"/>
                          <a:cs typeface="+mn-cs"/>
                        </a:rPr>
                        <a:t>ROE</a:t>
                      </a:r>
                      <a:r>
                        <a:rPr lang="en" sz="1200" b="0" i="0" u="none" strike="noStrike" baseline="30000" dirty="0">
                          <a:solidFill>
                            <a:srgbClr val="3A4D98"/>
                          </a:solidFill>
                          <a:effectLst/>
                          <a:latin typeface="Myriad Pro" panose="020B0503030403020204" pitchFamily="34" charset="0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39600" marR="40789" marT="28800" marB="28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fontAlgn="ctr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strike="noStrike" baseline="0">
                          <a:solidFill>
                            <a:srgbClr val="3A4D98"/>
                          </a:solidFill>
                          <a:effectLst/>
                          <a:latin typeface="Myriad Pro" panose="020B0503030403020204" pitchFamily="34" charset="0"/>
                          <a:ea typeface="+mn-ea"/>
                          <a:cs typeface="+mn-cs"/>
                        </a:rPr>
                        <a:t>-7.1%</a:t>
                      </a:r>
                    </a:p>
                  </a:txBody>
                  <a:tcPr marL="44450" marR="4445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fontAlgn="ctr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strike="noStrike" baseline="0">
                          <a:solidFill>
                            <a:srgbClr val="3A4D98"/>
                          </a:solidFill>
                          <a:effectLst/>
                          <a:latin typeface="Myriad Pro" panose="020B0503030403020204" pitchFamily="34" charset="0"/>
                          <a:ea typeface="+mn-ea"/>
                          <a:cs typeface="+mn-cs"/>
                        </a:rPr>
                        <a:t>-7.4%</a:t>
                      </a:r>
                    </a:p>
                  </a:txBody>
                  <a:tcPr marL="44450" marR="4445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l" rtl="0"/>
                      <a:r>
                        <a:rPr lang="en" sz="1200" b="0" i="0" u="none" strike="noStrike" baseline="0">
                          <a:solidFill>
                            <a:srgbClr val="3A4D98"/>
                          </a:solidFill>
                          <a:effectLst/>
                          <a:latin typeface="Myriad Pro" panose="020B0503030403020204" pitchFamily="34" charset="0"/>
                          <a:ea typeface="+mn-ea"/>
                          <a:cs typeface="+mn-cs"/>
                        </a:rPr>
                        <a:t>EBITDA margin</a:t>
                      </a:r>
                      <a:r>
                        <a:rPr lang="en" sz="1200" b="0" i="0" u="none" strike="noStrike" baseline="30000">
                          <a:solidFill>
                            <a:srgbClr val="3A4D98"/>
                          </a:solidFill>
                          <a:effectLst/>
                          <a:latin typeface="Myriad Pro" panose="020B0503030403020204" pitchFamily="34" charset="0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39600" marR="40789" marT="28800" marB="288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fontAlgn="ctr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strike="noStrike" baseline="0">
                          <a:solidFill>
                            <a:srgbClr val="3A4D98"/>
                          </a:solidFill>
                          <a:effectLst/>
                          <a:latin typeface="Myriad Pro" panose="020B0503030403020204" pitchFamily="34" charset="0"/>
                          <a:ea typeface="+mn-ea"/>
                          <a:cs typeface="+mn-cs"/>
                        </a:rPr>
                        <a:t>13.7%</a:t>
                      </a:r>
                    </a:p>
                  </a:txBody>
                  <a:tcPr marL="44450" marR="4445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rtl="0" fontAlgn="ctr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strike="noStrike" baseline="0" dirty="0">
                          <a:solidFill>
                            <a:srgbClr val="3A4D98"/>
                          </a:solidFill>
                          <a:effectLst/>
                          <a:latin typeface="Myriad Pro" panose="020B0503030403020204" pitchFamily="34" charset="0"/>
                          <a:ea typeface="+mn-ea"/>
                          <a:cs typeface="+mn-cs"/>
                        </a:rPr>
                        <a:t>11.9%</a:t>
                      </a:r>
                    </a:p>
                  </a:txBody>
                  <a:tcPr marL="44450" marR="4445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91" name="1331.25226.7510.75244.751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6010828" y="3711477"/>
            <a:ext cx="3996000" cy="7437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73152" rIns="0" bIns="0">
            <a:spAutoFit/>
          </a:bodyPr>
          <a:lstStyle/>
          <a:p>
            <a:pPr marL="179388" indent="-179388" algn="l" rtl="0" eaLnBrk="0" hangingPunct="0">
              <a:spcAft>
                <a:spcPct val="0"/>
              </a:spcAft>
              <a:buFont typeface="+mj-lt"/>
              <a:buAutoNum type="arabicPeriod"/>
              <a:tabLst>
                <a:tab pos="8864600" algn="r"/>
              </a:tabLst>
            </a:pPr>
            <a:r>
              <a:rPr lang="en" sz="800" b="0" i="1" u="none" baseline="0" dirty="0">
                <a:solidFill>
                  <a:srgbClr val="3A4D98"/>
                </a:solidFill>
                <a:latin typeface="Myriad Pro" panose="020B0503030403020204" pitchFamily="34" charset="0"/>
                <a:ea typeface="Myriad Pro" panose="020B0503030403020204" pitchFamily="34" charset="0"/>
                <a:cs typeface="Myriad Pro" panose="020B0503030403020204" pitchFamily="34" charset="0"/>
              </a:rPr>
              <a:t>Calculated as the ratio of total equity and non-current liabilities to non-current assets</a:t>
            </a:r>
            <a:endParaRPr lang="en" sz="800" i="1" dirty="0">
              <a:solidFill>
                <a:srgbClr val="3A4D98"/>
              </a:solidFill>
              <a:latin typeface="Myriad Pro" panose="020B0503030403020204" pitchFamily="34" charset="0"/>
            </a:endParaRPr>
          </a:p>
          <a:p>
            <a:pPr marL="179388" indent="-179388" algn="l" rtl="0" eaLnBrk="0" hangingPunct="0">
              <a:spcAft>
                <a:spcPct val="0"/>
              </a:spcAft>
              <a:buFont typeface="+mj-lt"/>
              <a:buAutoNum type="arabicPeriod"/>
              <a:tabLst>
                <a:tab pos="8864600" algn="r"/>
              </a:tabLst>
            </a:pPr>
            <a:r>
              <a:rPr lang="en" sz="800" b="0" i="1" u="none" baseline="0" dirty="0">
                <a:solidFill>
                  <a:srgbClr val="3A4D98"/>
                </a:solidFill>
                <a:latin typeface="Myriad Pro" panose="020B0503030403020204" pitchFamily="34" charset="0"/>
                <a:ea typeface="Myriad Pro" panose="020B0503030403020204" pitchFamily="34" charset="0"/>
                <a:cs typeface="Myriad Pro" panose="020B0503030403020204" pitchFamily="34" charset="0"/>
              </a:rPr>
              <a:t>Calculated as the ratio of net result for the last 12 months to total assets</a:t>
            </a:r>
          </a:p>
          <a:p>
            <a:pPr marL="179388" indent="-179388" algn="l" rtl="0" eaLnBrk="0" hangingPunct="0">
              <a:spcAft>
                <a:spcPct val="0"/>
              </a:spcAft>
              <a:buFont typeface="+mj-lt"/>
              <a:buAutoNum type="arabicPeriod"/>
              <a:tabLst>
                <a:tab pos="8864600" algn="r"/>
              </a:tabLst>
            </a:pPr>
            <a:r>
              <a:rPr lang="en" sz="800" b="0" i="1" u="none" baseline="0" dirty="0">
                <a:solidFill>
                  <a:srgbClr val="3A4D98"/>
                </a:solidFill>
                <a:latin typeface="Myriad Pro" panose="020B0503030403020204" pitchFamily="34" charset="0"/>
                <a:ea typeface="Myriad Pro" panose="020B0503030403020204" pitchFamily="34" charset="0"/>
                <a:cs typeface="Myriad Pro" panose="020B0503030403020204" pitchFamily="34" charset="0"/>
              </a:rPr>
              <a:t>Calculated as the ratio of the net result for the last 12 months to equity</a:t>
            </a:r>
          </a:p>
          <a:p>
            <a:pPr marL="179388" indent="-179388" algn="l" rtl="0" eaLnBrk="0" hangingPunct="0">
              <a:spcAft>
                <a:spcPct val="0"/>
              </a:spcAft>
              <a:buFont typeface="+mj-lt"/>
              <a:buAutoNum type="arabicPeriod"/>
              <a:tabLst>
                <a:tab pos="8864600" algn="r"/>
              </a:tabLst>
            </a:pPr>
            <a:r>
              <a:rPr lang="en" sz="800" b="0" i="1" u="none" baseline="0" dirty="0">
                <a:solidFill>
                  <a:srgbClr val="3A4D98"/>
                </a:solidFill>
                <a:latin typeface="Myriad Pro" panose="020B0503030403020204" pitchFamily="34" charset="0"/>
                <a:ea typeface="Myriad Pro" panose="020B0503030403020204" pitchFamily="34" charset="0"/>
                <a:cs typeface="Myriad Pro" panose="020B0503030403020204" pitchFamily="34" charset="0"/>
              </a:rPr>
              <a:t>Calculated as the ratio of the operating result plus depreciation and amortization (EBITDA) to total operating revenue</a:t>
            </a:r>
          </a:p>
          <a:p>
            <a:pPr marL="179388" indent="-179388" algn="l" rtl="0" eaLnBrk="0" hangingPunct="0">
              <a:spcAft>
                <a:spcPct val="0"/>
              </a:spcAft>
              <a:tabLst>
                <a:tab pos="8864600" algn="r"/>
              </a:tabLst>
            </a:pPr>
            <a:endParaRPr lang="en" sz="800" i="1" baseline="30000" dirty="0">
              <a:solidFill>
                <a:srgbClr val="FF0000"/>
              </a:solidFill>
              <a:latin typeface="Arial" panose="020B0604020202020204" pitchFamily="34" charset="0"/>
              <a:ea typeface="SC STKaiti"/>
              <a:cs typeface="Arial" panose="020B0604020202020204" pitchFamily="34" charset="0"/>
            </a:endParaRPr>
          </a:p>
        </p:txBody>
      </p:sp>
      <p:sp>
        <p:nvSpPr>
          <p:cNvPr id="103" name="object 48"/>
          <p:cNvSpPr txBox="1"/>
          <p:nvPr/>
        </p:nvSpPr>
        <p:spPr>
          <a:xfrm>
            <a:off x="813807" y="4356054"/>
            <a:ext cx="4724400" cy="55721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3970" algn="l" rtl="0">
              <a:spcBef>
                <a:spcPts val="100"/>
              </a:spcBef>
            </a:pPr>
            <a:r>
              <a:rPr lang="en" sz="1200" b="1" i="0" u="none" spc="5" baseline="0">
                <a:solidFill>
                  <a:srgbClr val="3A4D98"/>
                </a:solidFill>
                <a:latin typeface="Myriad Pro" panose="020B0503030403020204" pitchFamily="34" charset="0"/>
                <a:cs typeface="Myriad Pro"/>
              </a:rPr>
              <a:t>AVAILABLE FUNDING SOURCES</a:t>
            </a:r>
          </a:p>
          <a:p>
            <a:pPr marL="13970" algn="l" rtl="0">
              <a:lnSpc>
                <a:spcPts val="1390"/>
              </a:lnSpc>
            </a:pPr>
            <a:r>
              <a:rPr lang="en" sz="1200" b="1" i="0" u="none" baseline="0">
                <a:solidFill>
                  <a:srgbClr val="454545"/>
                </a:solidFill>
                <a:latin typeface="Myriad Pro"/>
                <a:ea typeface="Myriad Pro"/>
                <a:cs typeface="Myriad Pro"/>
              </a:rPr>
              <a:t>As at 31 December 2021</a:t>
            </a:r>
            <a:endParaRPr sz="1200" dirty="0">
              <a:solidFill>
                <a:srgbClr val="454545"/>
              </a:solidFill>
              <a:latin typeface="Myriad Pro"/>
              <a:cs typeface="Myriad Pro"/>
            </a:endParaRPr>
          </a:p>
          <a:p>
            <a:pPr marL="12700" algn="l" rtl="0">
              <a:lnSpc>
                <a:spcPts val="1390"/>
              </a:lnSpc>
            </a:pPr>
            <a:r>
              <a:rPr lang="en" sz="1200" b="0" i="0" u="none" spc="-20" baseline="0">
                <a:solidFill>
                  <a:srgbClr val="454545"/>
                </a:solidFill>
                <a:latin typeface="Arial"/>
                <a:ea typeface="Arial"/>
                <a:cs typeface="Arial"/>
              </a:rPr>
              <a:t>PLN</a:t>
            </a:r>
            <a:r>
              <a:rPr lang="en" sz="1200" b="0" i="0" u="none" spc="-65" baseline="0">
                <a:solidFill>
                  <a:srgbClr val="454545"/>
                </a:solidFill>
                <a:latin typeface="Arial"/>
                <a:ea typeface="Arial"/>
                <a:cs typeface="Arial"/>
              </a:rPr>
              <a:t> </a:t>
            </a:r>
            <a:r>
              <a:rPr lang="en" sz="1200" b="0" i="0" u="none" spc="-35" baseline="0">
                <a:solidFill>
                  <a:srgbClr val="454545"/>
                </a:solidFill>
                <a:latin typeface="Arial"/>
                <a:ea typeface="Arial"/>
                <a:cs typeface="Arial"/>
              </a:rPr>
              <a:t>million</a:t>
            </a:r>
            <a:endParaRPr sz="1200" dirty="0">
              <a:solidFill>
                <a:srgbClr val="454545"/>
              </a:solidFill>
              <a:latin typeface="Arial"/>
              <a:cs typeface="Arial"/>
            </a:endParaRPr>
          </a:p>
        </p:txBody>
      </p:sp>
      <p:graphicFrame>
        <p:nvGraphicFramePr>
          <p:cNvPr id="68" name="Chart 3"/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598404351"/>
              </p:ext>
            </p:extLst>
          </p:nvPr>
        </p:nvGraphicFramePr>
        <p:xfrm>
          <a:off x="2093913" y="4613275"/>
          <a:ext cx="2462212" cy="24622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sp>
        <p:nvSpPr>
          <p:cNvPr id="57" name="Prostokąt 56"/>
          <p:cNvSpPr/>
          <p:nvPr>
            <p:custDataLst>
              <p:tags r:id="rId6"/>
            </p:custDataLst>
          </p:nvPr>
        </p:nvSpPr>
        <p:spPr bwMode="gray">
          <a:xfrm>
            <a:off x="3113088" y="4722813"/>
            <a:ext cx="247650" cy="165100"/>
          </a:xfrm>
          <a:prstGeom prst="rect">
            <a:avLst/>
          </a:prstGeom>
          <a:solidFill>
            <a:srgbClr val="CAC9C9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2225" tIns="0" rIns="22225" bIns="0" rtlCol="0" anchor="ctr"/>
          <a:lstStyle/>
          <a:p>
            <a:pPr algn="ctr" rtl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D0371C1-E369-4951-8670-F7DAC9B289BE}" type="datetime'15'">
              <a:rPr sz="1200">
                <a:solidFill>
                  <a:srgbClr val="FFFFFF"/>
                </a:solidFill>
                <a:latin typeface="Arial Black" panose="020B0A04020102020204" pitchFamily="34" charset="0"/>
              </a:rPr>
              <a:pPr/>
              <a:t>15</a:t>
            </a:fld>
            <a:endParaRPr lang="en" sz="1200" dirty="0">
              <a:solidFill>
                <a:srgbClr val="FFFFFF"/>
              </a:solidFill>
              <a:latin typeface="Arial Black" panose="020B0A04020102020204" pitchFamily="34" charset="0"/>
              <a:cs typeface="Arial" panose="020B06040202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54" name="Prostokąt 53"/>
          <p:cNvSpPr/>
          <p:nvPr>
            <p:custDataLst>
              <p:tags r:id="rId7"/>
            </p:custDataLst>
          </p:nvPr>
        </p:nvSpPr>
        <p:spPr bwMode="gray">
          <a:xfrm>
            <a:off x="2509838" y="5029200"/>
            <a:ext cx="349250" cy="1651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786DE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2225" tIns="0" rIns="22225" bIns="0" rtlCol="0" anchor="ctr"/>
          <a:lstStyle/>
          <a:p>
            <a:pPr algn="ctr" rtl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42C987E7-4FD3-462C-8317-758D0DEAB6D1}" type="datetime'100'">
              <a:rPr sz="1200">
                <a:solidFill>
                  <a:srgbClr val="FFFFFF"/>
                </a:solidFill>
                <a:latin typeface="Arial Black" panose="020B0A04020102020204" pitchFamily="34" charset="0"/>
              </a:rPr>
              <a:pPr/>
              <a:t>100</a:t>
            </a:fld>
            <a:endParaRPr lang="en" sz="1200" dirty="0">
              <a:solidFill>
                <a:srgbClr val="FFFFFF"/>
              </a:solidFill>
              <a:latin typeface="Arial Black" panose="020B0A04020102020204" pitchFamily="34" charset="0"/>
              <a:cs typeface="Arial" panose="020B06040202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126" name="Prostokąt 125"/>
          <p:cNvSpPr/>
          <p:nvPr>
            <p:custDataLst>
              <p:tags r:id="rId8"/>
            </p:custDataLst>
          </p:nvPr>
        </p:nvSpPr>
        <p:spPr bwMode="auto">
          <a:xfrm>
            <a:off x="5135562" y="5092700"/>
            <a:ext cx="1016000" cy="182563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l" rtl="0">
              <a:spcBef>
                <a:spcPct val="0"/>
              </a:spcBef>
              <a:spcAft>
                <a:spcPct val="0"/>
              </a:spcAft>
            </a:pPr>
            <a:fld id="{8E72A155-4E66-41E8-8A7A-2051D1165020}" type="datetime'Cash'">
              <a:rPr sz="1200">
                <a:solidFill>
                  <a:srgbClr val="555454"/>
                </a:solidFill>
                <a:latin typeface="Myriad Pro Light" panose="020B0403030403020204" pitchFamily="34" charset="0"/>
                <a:sym typeface="Myriad Pro Light" panose="020B0403030403020204" pitchFamily="34" charset="0"/>
              </a:rPr>
              <a:pPr/>
              <a:t>Cash</a:t>
            </a:fld>
            <a:endParaRPr lang="en" sz="1200" dirty="0">
              <a:solidFill>
                <a:srgbClr val="555454"/>
              </a:solidFill>
              <a:latin typeface="Myriad Pro Light" panose="020B0403030403020204" pitchFamily="34" charset="0"/>
              <a:sym typeface="Myriad Pro Light" panose="020B0403030403020204" pitchFamily="34" charset="0"/>
            </a:endParaRPr>
          </a:p>
        </p:txBody>
      </p:sp>
      <p:sp>
        <p:nvSpPr>
          <p:cNvPr id="121" name="Prostokąt 120"/>
          <p:cNvSpPr/>
          <p:nvPr>
            <p:custDataLst>
              <p:tags r:id="rId9"/>
            </p:custDataLst>
          </p:nvPr>
        </p:nvSpPr>
        <p:spPr bwMode="auto">
          <a:xfrm>
            <a:off x="4870450" y="5097463"/>
            <a:ext cx="214313" cy="160338"/>
          </a:xfrm>
          <a:prstGeom prst="rect">
            <a:avLst/>
          </a:prstGeom>
          <a:solidFill>
            <a:srgbClr val="004F9F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">
              <a:solidFill>
                <a:prstClr val="white"/>
              </a:solidFill>
            </a:endParaRPr>
          </a:p>
        </p:txBody>
      </p:sp>
      <p:sp>
        <p:nvSpPr>
          <p:cNvPr id="125" name="Prostokąt 124"/>
          <p:cNvSpPr/>
          <p:nvPr>
            <p:custDataLst>
              <p:tags r:id="rId10"/>
            </p:custDataLst>
          </p:nvPr>
        </p:nvSpPr>
        <p:spPr bwMode="auto">
          <a:xfrm>
            <a:off x="5135563" y="5326063"/>
            <a:ext cx="646113" cy="182563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l" rtl="0">
              <a:spcBef>
                <a:spcPct val="0"/>
              </a:spcBef>
              <a:spcAft>
                <a:spcPct val="0"/>
              </a:spcAft>
            </a:pPr>
            <a:fld id="{4B86531B-A351-4CF3-9B6E-8D4B66DD4B83}" type="datetime'Pekao S.A.'">
              <a:rPr sz="1200">
                <a:solidFill>
                  <a:srgbClr val="555454"/>
                </a:solidFill>
                <a:latin typeface="Myriad Pro Light" panose="020B0403030403020204" pitchFamily="34" charset="0"/>
              </a:rPr>
              <a:pPr/>
              <a:t>Pekao S.A.</a:t>
            </a:fld>
            <a:endParaRPr lang="en" sz="1200" dirty="0">
              <a:solidFill>
                <a:srgbClr val="555454"/>
              </a:solidFill>
              <a:latin typeface="Myriad Pro Light" panose="020B0403030403020204" pitchFamily="34" charset="0"/>
              <a:sym typeface="Myriad Pro Light" panose="020B0403030403020204" pitchFamily="34" charset="0"/>
            </a:endParaRPr>
          </a:p>
        </p:txBody>
      </p:sp>
      <p:sp>
        <p:nvSpPr>
          <p:cNvPr id="120" name="Prostokąt 119"/>
          <p:cNvSpPr/>
          <p:nvPr>
            <p:custDataLst>
              <p:tags r:id="rId11"/>
            </p:custDataLst>
          </p:nvPr>
        </p:nvSpPr>
        <p:spPr bwMode="auto">
          <a:xfrm>
            <a:off x="4870450" y="5330825"/>
            <a:ext cx="214313" cy="160338"/>
          </a:xfrm>
          <a:prstGeom prst="rect">
            <a:avLst/>
          </a:prstGeom>
          <a:solidFill>
            <a:srgbClr val="4E72B7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">
              <a:solidFill>
                <a:prstClr val="white"/>
              </a:solidFill>
            </a:endParaRPr>
          </a:p>
        </p:txBody>
      </p:sp>
      <p:sp>
        <p:nvSpPr>
          <p:cNvPr id="48" name="Prostokąt 47"/>
          <p:cNvSpPr/>
          <p:nvPr>
            <p:custDataLst>
              <p:tags r:id="rId12"/>
            </p:custDataLst>
          </p:nvPr>
        </p:nvSpPr>
        <p:spPr bwMode="auto">
          <a:xfrm>
            <a:off x="5135563" y="5559425"/>
            <a:ext cx="722313" cy="182563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l" rtl="0">
              <a:spcBef>
                <a:spcPct val="0"/>
              </a:spcBef>
              <a:spcAft>
                <a:spcPct val="0"/>
              </a:spcAft>
            </a:pPr>
            <a:fld id="{A0618529-2740-45A0-AF61-9B454C2F9863}" type="datetime'PKO BP S.A.'">
              <a:rPr sz="1200">
                <a:solidFill>
                  <a:srgbClr val="555454"/>
                </a:solidFill>
                <a:latin typeface="Myriad Pro Light" panose="020B0403030403020204" pitchFamily="34" charset="0"/>
              </a:rPr>
              <a:pPr/>
              <a:t>PKO BP S.A.</a:t>
            </a:fld>
            <a:endParaRPr lang="en" sz="1200" dirty="0">
              <a:solidFill>
                <a:srgbClr val="555454"/>
              </a:solidFill>
              <a:latin typeface="Myriad Pro Light" panose="020B0403030403020204" pitchFamily="34" charset="0"/>
              <a:sym typeface="Myriad Pro Light" panose="020B0403030403020204" pitchFamily="34" charset="0"/>
            </a:endParaRPr>
          </a:p>
        </p:txBody>
      </p:sp>
      <p:sp>
        <p:nvSpPr>
          <p:cNvPr id="8" name="Prostokąt 7"/>
          <p:cNvSpPr/>
          <p:nvPr>
            <p:custDataLst>
              <p:tags r:id="rId13"/>
            </p:custDataLst>
          </p:nvPr>
        </p:nvSpPr>
        <p:spPr bwMode="auto">
          <a:xfrm>
            <a:off x="4870450" y="5564188"/>
            <a:ext cx="214313" cy="160338"/>
          </a:xfrm>
          <a:prstGeom prst="rect">
            <a:avLst/>
          </a:prstGeom>
          <a:solidFill>
            <a:srgbClr val="3786DE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"/>
          </a:p>
        </p:txBody>
      </p:sp>
      <p:sp>
        <p:nvSpPr>
          <p:cNvPr id="116" name="Prostokąt 115"/>
          <p:cNvSpPr/>
          <p:nvPr>
            <p:custDataLst>
              <p:tags r:id="rId14"/>
            </p:custDataLst>
          </p:nvPr>
        </p:nvSpPr>
        <p:spPr bwMode="gray">
          <a:xfrm>
            <a:off x="4103688" y="5599113"/>
            <a:ext cx="349250" cy="1651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4F9F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2225" tIns="0" rIns="22225" bIns="0" rtlCol="0" anchor="ctr"/>
          <a:lstStyle/>
          <a:p>
            <a:pPr algn="ctr" rtl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BF47CF4-9B9E-490F-837A-1B4EEFBCD686}" type="datetime'255'">
              <a:rPr sz="1200">
                <a:solidFill>
                  <a:srgbClr val="FFFFFF"/>
                </a:solidFill>
                <a:latin typeface="Arial Black" panose="020B0A04020102020204" pitchFamily="34" charset="0"/>
              </a:rPr>
              <a:pPr/>
              <a:t>255</a:t>
            </a:fld>
            <a:endParaRPr lang="en" sz="1200" dirty="0">
              <a:solidFill>
                <a:srgbClr val="FFFFFF"/>
              </a:solidFill>
              <a:latin typeface="Arial Black" panose="020B0A04020102020204" pitchFamily="34" charset="0"/>
              <a:cs typeface="Arial" panose="020B06040202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128" name="pole tekstowe 127"/>
          <p:cNvSpPr txBox="1"/>
          <p:nvPr/>
        </p:nvSpPr>
        <p:spPr>
          <a:xfrm>
            <a:off x="2828089" y="5699403"/>
            <a:ext cx="10541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en" b="0" i="0" u="none" baseline="0">
                <a:solidFill>
                  <a:prstClr val="black"/>
                </a:solidFill>
                <a:latin typeface="Arial Black" panose="020B0A04020102020204" pitchFamily="34" charset="0"/>
                <a:ea typeface="Arial Black" panose="020B0A04020102020204" pitchFamily="34" charset="0"/>
                <a:cs typeface="Arial Black" panose="020B0A04020102020204" pitchFamily="34" charset="0"/>
              </a:rPr>
              <a:t>570.1</a:t>
            </a:r>
          </a:p>
        </p:txBody>
      </p:sp>
      <p:sp>
        <p:nvSpPr>
          <p:cNvPr id="86" name="Prostokąt 85"/>
          <p:cNvSpPr/>
          <p:nvPr>
            <p:custDataLst>
              <p:tags r:id="rId15"/>
            </p:custDataLst>
          </p:nvPr>
        </p:nvSpPr>
        <p:spPr bwMode="auto">
          <a:xfrm>
            <a:off x="5135563" y="5792788"/>
            <a:ext cx="258763" cy="182563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l" rtl="0">
              <a:spcBef>
                <a:spcPct val="0"/>
              </a:spcBef>
              <a:spcAft>
                <a:spcPct val="0"/>
              </a:spcAft>
            </a:pPr>
            <a:fld id="{FD66E751-81CD-45CF-98B7-9640E1AE4DDB}" type="datetime'BGK'">
              <a:rPr sz="1200">
                <a:solidFill>
                  <a:srgbClr val="555454"/>
                </a:solidFill>
                <a:latin typeface="Myriad Pro Light" panose="020B0403030403020204" pitchFamily="34" charset="0"/>
                <a:sym typeface="Myriad Pro Light" panose="020B0403030403020204" pitchFamily="34" charset="0"/>
              </a:rPr>
              <a:pPr/>
              <a:t>BGK</a:t>
            </a:fld>
            <a:endParaRPr lang="en" sz="1200">
              <a:solidFill>
                <a:srgbClr val="555454"/>
              </a:solidFill>
              <a:latin typeface="Myriad Pro Light" panose="020B0403030403020204" pitchFamily="34" charset="0"/>
              <a:sym typeface="Myriad Pro Light" panose="020B0403030403020204" pitchFamily="34" charset="0"/>
            </a:endParaRPr>
          </a:p>
        </p:txBody>
      </p:sp>
      <p:sp>
        <p:nvSpPr>
          <p:cNvPr id="28" name="Prostokąt 27"/>
          <p:cNvSpPr/>
          <p:nvPr>
            <p:custDataLst>
              <p:tags r:id="rId16"/>
            </p:custDataLst>
          </p:nvPr>
        </p:nvSpPr>
        <p:spPr bwMode="auto">
          <a:xfrm>
            <a:off x="4870450" y="5797550"/>
            <a:ext cx="214313" cy="160338"/>
          </a:xfrm>
          <a:prstGeom prst="rect">
            <a:avLst/>
          </a:prstGeom>
          <a:solidFill>
            <a:srgbClr val="555454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"/>
          </a:p>
        </p:txBody>
      </p:sp>
      <p:sp>
        <p:nvSpPr>
          <p:cNvPr id="47" name="Prostokąt 46"/>
          <p:cNvSpPr/>
          <p:nvPr>
            <p:custDataLst>
              <p:tags r:id="rId17"/>
            </p:custDataLst>
          </p:nvPr>
        </p:nvSpPr>
        <p:spPr bwMode="gray">
          <a:xfrm>
            <a:off x="2211388" y="6000750"/>
            <a:ext cx="349250" cy="1651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786DE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2225" tIns="0" rIns="22225" bIns="0" rtlCol="0" anchor="ctr"/>
          <a:lstStyle/>
          <a:p>
            <a:pPr algn="ctr" rtl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5F71F94-814A-4205-8B2B-7AC042724B03}" type="datetime'100'">
              <a:rPr sz="1200">
                <a:solidFill>
                  <a:srgbClr val="FFFFFF"/>
                </a:solidFill>
                <a:latin typeface="Arial Black" panose="020B0A04020102020204" pitchFamily="34" charset="0"/>
              </a:rPr>
              <a:pPr/>
              <a:t>100</a:t>
            </a:fld>
            <a:endParaRPr lang="en" sz="1200" dirty="0">
              <a:solidFill>
                <a:srgbClr val="FFFFFF"/>
              </a:solidFill>
              <a:latin typeface="Arial Black" panose="020B0A04020102020204" pitchFamily="34" charset="0"/>
              <a:cs typeface="Arial" panose="020B06040202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58" name="Prostokąt 57"/>
          <p:cNvSpPr/>
          <p:nvPr>
            <p:custDataLst>
              <p:tags r:id="rId18"/>
            </p:custDataLst>
          </p:nvPr>
        </p:nvSpPr>
        <p:spPr bwMode="auto">
          <a:xfrm>
            <a:off x="5135563" y="6026150"/>
            <a:ext cx="1019175" cy="182563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l" rtl="0">
              <a:spcBef>
                <a:spcPct val="0"/>
              </a:spcBef>
              <a:spcAft>
                <a:spcPct val="0"/>
              </a:spcAft>
            </a:pPr>
            <a:fld id="{DD1232CC-F326-45BF-9E0B-773F275B9DAA}" type="datetime'PKO Leasing S.A.'">
              <a:rPr sz="1200">
                <a:solidFill>
                  <a:srgbClr val="555454"/>
                </a:solidFill>
                <a:latin typeface="Myriad Pro Light" panose="020B0403030403020204" pitchFamily="34" charset="0"/>
                <a:sym typeface="Myriad Pro Light" panose="020B0403030403020204" pitchFamily="34" charset="0"/>
              </a:rPr>
              <a:pPr/>
              <a:t>PKO Leasing S.A.</a:t>
            </a:fld>
            <a:endParaRPr lang="en" sz="1200">
              <a:solidFill>
                <a:srgbClr val="555454"/>
              </a:solidFill>
              <a:latin typeface="Myriad Pro Light" panose="020B0403030403020204" pitchFamily="34" charset="0"/>
              <a:sym typeface="Myriad Pro Light" panose="020B0403030403020204" pitchFamily="34" charset="0"/>
            </a:endParaRPr>
          </a:p>
        </p:txBody>
      </p:sp>
      <p:sp>
        <p:nvSpPr>
          <p:cNvPr id="14" name="Prostokąt 13"/>
          <p:cNvSpPr/>
          <p:nvPr>
            <p:custDataLst>
              <p:tags r:id="rId19"/>
            </p:custDataLst>
          </p:nvPr>
        </p:nvSpPr>
        <p:spPr bwMode="auto">
          <a:xfrm>
            <a:off x="4870450" y="6030913"/>
            <a:ext cx="214313" cy="160338"/>
          </a:xfrm>
          <a:prstGeom prst="rect">
            <a:avLst/>
          </a:prstGeom>
          <a:solidFill>
            <a:srgbClr val="CAC9C9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"/>
          </a:p>
        </p:txBody>
      </p:sp>
      <p:sp>
        <p:nvSpPr>
          <p:cNvPr id="117" name="Prostokąt 116"/>
          <p:cNvSpPr/>
          <p:nvPr>
            <p:custDataLst>
              <p:tags r:id="rId20"/>
            </p:custDataLst>
          </p:nvPr>
        </p:nvSpPr>
        <p:spPr bwMode="gray">
          <a:xfrm>
            <a:off x="2932113" y="6750050"/>
            <a:ext cx="349250" cy="1651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4E72B7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2225" tIns="0" rIns="22225" bIns="0" rtlCol="0" anchor="ctr"/>
          <a:lstStyle/>
          <a:p>
            <a:pPr algn="ctr" rtl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71C754C-8403-4F8F-A1AB-F2BEB1870AE3}" type="datetime'100'">
              <a:rPr sz="1200">
                <a:solidFill>
                  <a:srgbClr val="FFFFFF"/>
                </a:solidFill>
                <a:latin typeface="Arial Black" panose="020B0A04020102020204" pitchFamily="34" charset="0"/>
              </a:rPr>
              <a:pPr/>
              <a:t>100</a:t>
            </a:fld>
            <a:endParaRPr lang="en" sz="1200" dirty="0">
              <a:solidFill>
                <a:srgbClr val="FFFFFF"/>
              </a:solidFill>
              <a:latin typeface="Arial Black" panose="020B0A04020102020204" pitchFamily="34" charset="0"/>
              <a:cs typeface="Arial" panose="020B06040202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38" name="pole tekstowe 37"/>
          <p:cNvSpPr txBox="1"/>
          <p:nvPr/>
        </p:nvSpPr>
        <p:spPr>
          <a:xfrm>
            <a:off x="675114" y="7182693"/>
            <a:ext cx="946750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rtl="0"/>
            <a:r>
              <a:rPr lang="en" sz="900" b="0" i="1" u="none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To facilitate the reading of this presentation, some figures have been rounded off, which may cause negligible deviations in the presented data.</a:t>
            </a:r>
          </a:p>
        </p:txBody>
      </p:sp>
    </p:spTree>
    <p:extLst>
      <p:ext uri="{BB962C8B-B14F-4D97-AF65-F5344CB8AC3E}">
        <p14:creationId xmlns:p14="http://schemas.microsoft.com/office/powerpoint/2010/main" val="330865054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numeru slajdu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 rtl="0"/>
            <a:fld id="{022581BA-A277-4FE5-891C-DC92D7F0A26A}" type="slidenum">
              <a:rPr/>
              <a:pPr algn="r" rtl="0"/>
              <a:t>12</a:t>
            </a:fld>
            <a:endParaRPr lang="en" dirty="0"/>
          </a:p>
        </p:txBody>
      </p:sp>
      <p:pic>
        <p:nvPicPr>
          <p:cNvPr id="19" name="Obraz 18" descr="pkp_cargo_raport_kwartalny_ppt_2018-3.jp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1124" y="0"/>
            <a:ext cx="8851259" cy="6257446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32344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667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object 5"/>
          <p:cNvSpPr txBox="1"/>
          <p:nvPr/>
        </p:nvSpPr>
        <p:spPr>
          <a:xfrm>
            <a:off x="466576" y="4102167"/>
            <a:ext cx="2793860" cy="42082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 algn="l" rtl="0">
              <a:lnSpc>
                <a:spcPct val="100899"/>
              </a:lnSpc>
              <a:spcBef>
                <a:spcPts val="95"/>
              </a:spcBef>
            </a:pPr>
            <a:r>
              <a:rPr lang="en" sz="2750" b="0" i="0" u="none" spc="-60" baseline="0" dirty="0" smtClean="0">
                <a:solidFill>
                  <a:srgbClr val="3A4D98"/>
                </a:solidFill>
                <a:latin typeface="Myriad Pro"/>
                <a:ea typeface="Myriad Pro"/>
                <a:cs typeface="Myriad Pro"/>
              </a:rPr>
              <a:t>Appendi</a:t>
            </a:r>
            <a:r>
              <a:rPr lang="pl-PL" sz="2750" spc="-60" dirty="0">
                <a:solidFill>
                  <a:srgbClr val="3A4D98"/>
                </a:solidFill>
                <a:latin typeface="Myriad Pro"/>
                <a:ea typeface="Myriad Pro"/>
                <a:cs typeface="Myriad Pro"/>
              </a:rPr>
              <a:t>x</a:t>
            </a:r>
            <a:r>
              <a:rPr lang="en" sz="2750" b="0" i="0" u="none" spc="-60" baseline="0" dirty="0" smtClean="0">
                <a:solidFill>
                  <a:srgbClr val="3A4D98"/>
                </a:solidFill>
                <a:latin typeface="Myriad Pro"/>
                <a:ea typeface="Myriad Pro"/>
                <a:cs typeface="Myriad Pro"/>
              </a:rPr>
              <a:t>es</a:t>
            </a:r>
            <a:endParaRPr lang="en" sz="2750" spc="-60" dirty="0">
              <a:solidFill>
                <a:srgbClr val="3A4D98"/>
              </a:solidFill>
              <a:latin typeface="Myriad Pro"/>
              <a:cs typeface="Myriad Pro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1559185" y="5652729"/>
            <a:ext cx="281940" cy="272415"/>
          </a:xfrm>
          <a:custGeom>
            <a:avLst/>
            <a:gdLst/>
            <a:ahLst/>
            <a:cxnLst/>
            <a:rect l="l" t="t" r="r" b="b"/>
            <a:pathLst>
              <a:path w="281939" h="272414">
                <a:moveTo>
                  <a:pt x="281863" y="171996"/>
                </a:moveTo>
                <a:lnTo>
                  <a:pt x="0" y="171996"/>
                </a:lnTo>
                <a:lnTo>
                  <a:pt x="0" y="272313"/>
                </a:lnTo>
                <a:lnTo>
                  <a:pt x="281863" y="272313"/>
                </a:lnTo>
                <a:lnTo>
                  <a:pt x="281863" y="257987"/>
                </a:lnTo>
                <a:lnTo>
                  <a:pt x="14325" y="257987"/>
                </a:lnTo>
                <a:lnTo>
                  <a:pt x="14325" y="186321"/>
                </a:lnTo>
                <a:lnTo>
                  <a:pt x="281863" y="186321"/>
                </a:lnTo>
                <a:lnTo>
                  <a:pt x="281863" y="171996"/>
                </a:lnTo>
                <a:close/>
              </a:path>
              <a:path w="281939" h="272414">
                <a:moveTo>
                  <a:pt x="28663" y="186321"/>
                </a:moveTo>
                <a:lnTo>
                  <a:pt x="19100" y="186321"/>
                </a:lnTo>
                <a:lnTo>
                  <a:pt x="19100" y="257987"/>
                </a:lnTo>
                <a:lnTo>
                  <a:pt x="28663" y="257987"/>
                </a:lnTo>
                <a:lnTo>
                  <a:pt x="28663" y="186321"/>
                </a:lnTo>
                <a:close/>
              </a:path>
              <a:path w="281939" h="272414">
                <a:moveTo>
                  <a:pt x="47764" y="186321"/>
                </a:moveTo>
                <a:lnTo>
                  <a:pt x="38214" y="186321"/>
                </a:lnTo>
                <a:lnTo>
                  <a:pt x="38214" y="257987"/>
                </a:lnTo>
                <a:lnTo>
                  <a:pt x="47764" y="257987"/>
                </a:lnTo>
                <a:lnTo>
                  <a:pt x="47764" y="186321"/>
                </a:lnTo>
                <a:close/>
              </a:path>
              <a:path w="281939" h="272414">
                <a:moveTo>
                  <a:pt x="66878" y="186321"/>
                </a:moveTo>
                <a:lnTo>
                  <a:pt x="57315" y="186321"/>
                </a:lnTo>
                <a:lnTo>
                  <a:pt x="57315" y="257987"/>
                </a:lnTo>
                <a:lnTo>
                  <a:pt x="66878" y="257987"/>
                </a:lnTo>
                <a:lnTo>
                  <a:pt x="66878" y="186321"/>
                </a:lnTo>
                <a:close/>
              </a:path>
              <a:path w="281939" h="272414">
                <a:moveTo>
                  <a:pt x="85991" y="186321"/>
                </a:moveTo>
                <a:lnTo>
                  <a:pt x="76428" y="186321"/>
                </a:lnTo>
                <a:lnTo>
                  <a:pt x="76428" y="257987"/>
                </a:lnTo>
                <a:lnTo>
                  <a:pt x="85991" y="257987"/>
                </a:lnTo>
                <a:lnTo>
                  <a:pt x="85991" y="186321"/>
                </a:lnTo>
                <a:close/>
              </a:path>
              <a:path w="281939" h="272414">
                <a:moveTo>
                  <a:pt x="105092" y="186321"/>
                </a:moveTo>
                <a:lnTo>
                  <a:pt x="95542" y="186321"/>
                </a:lnTo>
                <a:lnTo>
                  <a:pt x="95542" y="257987"/>
                </a:lnTo>
                <a:lnTo>
                  <a:pt x="105092" y="257987"/>
                </a:lnTo>
                <a:lnTo>
                  <a:pt x="105092" y="186321"/>
                </a:lnTo>
                <a:close/>
              </a:path>
              <a:path w="281939" h="272414">
                <a:moveTo>
                  <a:pt x="124206" y="186321"/>
                </a:moveTo>
                <a:lnTo>
                  <a:pt x="114642" y="186321"/>
                </a:lnTo>
                <a:lnTo>
                  <a:pt x="114642" y="257987"/>
                </a:lnTo>
                <a:lnTo>
                  <a:pt x="124206" y="257987"/>
                </a:lnTo>
                <a:lnTo>
                  <a:pt x="124206" y="186321"/>
                </a:lnTo>
                <a:close/>
              </a:path>
              <a:path w="281939" h="272414">
                <a:moveTo>
                  <a:pt x="143319" y="186321"/>
                </a:moveTo>
                <a:lnTo>
                  <a:pt x="133756" y="186321"/>
                </a:lnTo>
                <a:lnTo>
                  <a:pt x="133756" y="257987"/>
                </a:lnTo>
                <a:lnTo>
                  <a:pt x="143319" y="257987"/>
                </a:lnTo>
                <a:lnTo>
                  <a:pt x="143319" y="186321"/>
                </a:lnTo>
                <a:close/>
              </a:path>
              <a:path w="281939" h="272414">
                <a:moveTo>
                  <a:pt x="162433" y="186321"/>
                </a:moveTo>
                <a:lnTo>
                  <a:pt x="152869" y="186321"/>
                </a:lnTo>
                <a:lnTo>
                  <a:pt x="152869" y="257987"/>
                </a:lnTo>
                <a:lnTo>
                  <a:pt x="162433" y="257987"/>
                </a:lnTo>
                <a:lnTo>
                  <a:pt x="162433" y="186321"/>
                </a:lnTo>
                <a:close/>
              </a:path>
              <a:path w="281939" h="272414">
                <a:moveTo>
                  <a:pt x="181533" y="186321"/>
                </a:moveTo>
                <a:lnTo>
                  <a:pt x="171983" y="186321"/>
                </a:lnTo>
                <a:lnTo>
                  <a:pt x="171983" y="257987"/>
                </a:lnTo>
                <a:lnTo>
                  <a:pt x="181533" y="257987"/>
                </a:lnTo>
                <a:lnTo>
                  <a:pt x="181533" y="186321"/>
                </a:lnTo>
                <a:close/>
              </a:path>
              <a:path w="281939" h="272414">
                <a:moveTo>
                  <a:pt x="200647" y="186321"/>
                </a:moveTo>
                <a:lnTo>
                  <a:pt x="191084" y="186321"/>
                </a:lnTo>
                <a:lnTo>
                  <a:pt x="191084" y="257987"/>
                </a:lnTo>
                <a:lnTo>
                  <a:pt x="200647" y="257987"/>
                </a:lnTo>
                <a:lnTo>
                  <a:pt x="200647" y="186321"/>
                </a:lnTo>
                <a:close/>
              </a:path>
              <a:path w="281939" h="272414">
                <a:moveTo>
                  <a:pt x="219760" y="186321"/>
                </a:moveTo>
                <a:lnTo>
                  <a:pt x="210197" y="186321"/>
                </a:lnTo>
                <a:lnTo>
                  <a:pt x="210197" y="257987"/>
                </a:lnTo>
                <a:lnTo>
                  <a:pt x="219760" y="257987"/>
                </a:lnTo>
                <a:lnTo>
                  <a:pt x="219760" y="186321"/>
                </a:lnTo>
                <a:close/>
              </a:path>
              <a:path w="281939" h="272414">
                <a:moveTo>
                  <a:pt x="238874" y="186321"/>
                </a:moveTo>
                <a:lnTo>
                  <a:pt x="229311" y="186321"/>
                </a:lnTo>
                <a:lnTo>
                  <a:pt x="229311" y="257987"/>
                </a:lnTo>
                <a:lnTo>
                  <a:pt x="238874" y="257987"/>
                </a:lnTo>
                <a:lnTo>
                  <a:pt x="238874" y="186321"/>
                </a:lnTo>
                <a:close/>
              </a:path>
              <a:path w="281939" h="272414">
                <a:moveTo>
                  <a:pt x="257987" y="186321"/>
                </a:moveTo>
                <a:lnTo>
                  <a:pt x="248424" y="186321"/>
                </a:lnTo>
                <a:lnTo>
                  <a:pt x="248424" y="257987"/>
                </a:lnTo>
                <a:lnTo>
                  <a:pt x="257987" y="257987"/>
                </a:lnTo>
                <a:lnTo>
                  <a:pt x="257987" y="186321"/>
                </a:lnTo>
                <a:close/>
              </a:path>
              <a:path w="281939" h="272414">
                <a:moveTo>
                  <a:pt x="281863" y="186321"/>
                </a:moveTo>
                <a:lnTo>
                  <a:pt x="267538" y="186321"/>
                </a:lnTo>
                <a:lnTo>
                  <a:pt x="267538" y="257987"/>
                </a:lnTo>
                <a:lnTo>
                  <a:pt x="281863" y="257987"/>
                </a:lnTo>
                <a:lnTo>
                  <a:pt x="281863" y="186321"/>
                </a:lnTo>
                <a:close/>
              </a:path>
              <a:path w="281939" h="272414">
                <a:moveTo>
                  <a:pt x="138544" y="57327"/>
                </a:moveTo>
                <a:lnTo>
                  <a:pt x="128981" y="57327"/>
                </a:lnTo>
                <a:lnTo>
                  <a:pt x="128981" y="67437"/>
                </a:lnTo>
                <a:lnTo>
                  <a:pt x="124688" y="69392"/>
                </a:lnTo>
                <a:lnTo>
                  <a:pt x="119913" y="73583"/>
                </a:lnTo>
                <a:lnTo>
                  <a:pt x="119913" y="86436"/>
                </a:lnTo>
                <a:lnTo>
                  <a:pt x="122085" y="90233"/>
                </a:lnTo>
                <a:lnTo>
                  <a:pt x="125222" y="92697"/>
                </a:lnTo>
                <a:lnTo>
                  <a:pt x="41490" y="171996"/>
                </a:lnTo>
                <a:lnTo>
                  <a:pt x="48437" y="171996"/>
                </a:lnTo>
                <a:lnTo>
                  <a:pt x="129628" y="95097"/>
                </a:lnTo>
                <a:lnTo>
                  <a:pt x="140771" y="95097"/>
                </a:lnTo>
                <a:lnTo>
                  <a:pt x="141465" y="94767"/>
                </a:lnTo>
                <a:lnTo>
                  <a:pt x="148594" y="94767"/>
                </a:lnTo>
                <a:lnTo>
                  <a:pt x="145376" y="91859"/>
                </a:lnTo>
                <a:lnTo>
                  <a:pt x="147535" y="89484"/>
                </a:lnTo>
                <a:lnTo>
                  <a:pt x="148877" y="86436"/>
                </a:lnTo>
                <a:lnTo>
                  <a:pt x="148983" y="85991"/>
                </a:lnTo>
                <a:lnTo>
                  <a:pt x="132295" y="85991"/>
                </a:lnTo>
                <a:lnTo>
                  <a:pt x="130695" y="85293"/>
                </a:lnTo>
                <a:lnTo>
                  <a:pt x="129463" y="83870"/>
                </a:lnTo>
                <a:lnTo>
                  <a:pt x="129463" y="76809"/>
                </a:lnTo>
                <a:lnTo>
                  <a:pt x="133743" y="75755"/>
                </a:lnTo>
                <a:lnTo>
                  <a:pt x="136855" y="75209"/>
                </a:lnTo>
                <a:lnTo>
                  <a:pt x="138544" y="73228"/>
                </a:lnTo>
                <a:lnTo>
                  <a:pt x="138544" y="57327"/>
                </a:lnTo>
                <a:close/>
              </a:path>
              <a:path w="281939" h="272414">
                <a:moveTo>
                  <a:pt x="148594" y="94767"/>
                </a:moveTo>
                <a:lnTo>
                  <a:pt x="141465" y="94767"/>
                </a:lnTo>
                <a:lnTo>
                  <a:pt x="226898" y="171996"/>
                </a:lnTo>
                <a:lnTo>
                  <a:pt x="234022" y="171996"/>
                </a:lnTo>
                <a:lnTo>
                  <a:pt x="148594" y="94767"/>
                </a:lnTo>
                <a:close/>
              </a:path>
              <a:path w="281939" h="272414">
                <a:moveTo>
                  <a:pt x="140771" y="95097"/>
                </a:moveTo>
                <a:lnTo>
                  <a:pt x="129628" y="95097"/>
                </a:lnTo>
                <a:lnTo>
                  <a:pt x="131559" y="95783"/>
                </a:lnTo>
                <a:lnTo>
                  <a:pt x="133604" y="96151"/>
                </a:lnTo>
                <a:lnTo>
                  <a:pt x="137629" y="96151"/>
                </a:lnTo>
                <a:lnTo>
                  <a:pt x="139623" y="95643"/>
                </a:lnTo>
                <a:lnTo>
                  <a:pt x="140771" y="95097"/>
                </a:lnTo>
                <a:close/>
              </a:path>
              <a:path w="281939" h="272414">
                <a:moveTo>
                  <a:pt x="136232" y="83591"/>
                </a:moveTo>
                <a:lnTo>
                  <a:pt x="134810" y="83604"/>
                </a:lnTo>
                <a:lnTo>
                  <a:pt x="132295" y="85991"/>
                </a:lnTo>
                <a:lnTo>
                  <a:pt x="148983" y="85991"/>
                </a:lnTo>
                <a:lnTo>
                  <a:pt x="148983" y="85458"/>
                </a:lnTo>
                <a:lnTo>
                  <a:pt x="138303" y="85458"/>
                </a:lnTo>
                <a:lnTo>
                  <a:pt x="136232" y="83591"/>
                </a:lnTo>
                <a:close/>
              </a:path>
              <a:path w="281939" h="272414">
                <a:moveTo>
                  <a:pt x="146850" y="77139"/>
                </a:moveTo>
                <a:lnTo>
                  <a:pt x="141579" y="77139"/>
                </a:lnTo>
                <a:lnTo>
                  <a:pt x="139433" y="79286"/>
                </a:lnTo>
                <a:lnTo>
                  <a:pt x="139351" y="83870"/>
                </a:lnTo>
                <a:lnTo>
                  <a:pt x="138938" y="84772"/>
                </a:lnTo>
                <a:lnTo>
                  <a:pt x="138303" y="85458"/>
                </a:lnTo>
                <a:lnTo>
                  <a:pt x="148983" y="85458"/>
                </a:lnTo>
                <a:lnTo>
                  <a:pt x="148983" y="79286"/>
                </a:lnTo>
                <a:lnTo>
                  <a:pt x="146850" y="77139"/>
                </a:lnTo>
                <a:close/>
              </a:path>
              <a:path w="281939" h="272414">
                <a:moveTo>
                  <a:pt x="150533" y="23888"/>
                </a:moveTo>
                <a:lnTo>
                  <a:pt x="121932" y="23888"/>
                </a:lnTo>
                <a:lnTo>
                  <a:pt x="126669" y="57327"/>
                </a:lnTo>
                <a:lnTo>
                  <a:pt x="143840" y="57327"/>
                </a:lnTo>
                <a:lnTo>
                  <a:pt x="150533" y="23888"/>
                </a:lnTo>
                <a:close/>
              </a:path>
              <a:path w="281939" h="272414">
                <a:moveTo>
                  <a:pt x="133769" y="0"/>
                </a:moveTo>
                <a:lnTo>
                  <a:pt x="128981" y="0"/>
                </a:lnTo>
                <a:lnTo>
                  <a:pt x="128981" y="23888"/>
                </a:lnTo>
                <a:lnTo>
                  <a:pt x="133769" y="23888"/>
                </a:lnTo>
                <a:lnTo>
                  <a:pt x="133769" y="0"/>
                </a:lnTo>
                <a:close/>
              </a:path>
              <a:path w="281939" h="272414">
                <a:moveTo>
                  <a:pt x="143319" y="0"/>
                </a:moveTo>
                <a:lnTo>
                  <a:pt x="138544" y="0"/>
                </a:lnTo>
                <a:lnTo>
                  <a:pt x="138544" y="23888"/>
                </a:lnTo>
                <a:lnTo>
                  <a:pt x="143319" y="23888"/>
                </a:lnTo>
                <a:lnTo>
                  <a:pt x="143319" y="0"/>
                </a:lnTo>
                <a:close/>
              </a:path>
            </a:pathLst>
          </a:custGeom>
          <a:solidFill>
            <a:srgbClr val="565658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20" name="Grupa 19"/>
          <p:cNvGrpSpPr/>
          <p:nvPr/>
        </p:nvGrpSpPr>
        <p:grpSpPr>
          <a:xfrm>
            <a:off x="488086" y="5697439"/>
            <a:ext cx="311150" cy="227965"/>
            <a:chOff x="488086" y="5697439"/>
            <a:chExt cx="311150" cy="227965"/>
          </a:xfrm>
        </p:grpSpPr>
        <p:sp>
          <p:nvSpPr>
            <p:cNvPr id="13" name="object 13"/>
            <p:cNvSpPr/>
            <p:nvPr/>
          </p:nvSpPr>
          <p:spPr>
            <a:xfrm>
              <a:off x="488086" y="5697439"/>
              <a:ext cx="311150" cy="227965"/>
            </a:xfrm>
            <a:custGeom>
              <a:avLst/>
              <a:gdLst/>
              <a:ahLst/>
              <a:cxnLst/>
              <a:rect l="l" t="t" r="r" b="b"/>
              <a:pathLst>
                <a:path w="311150" h="227964">
                  <a:moveTo>
                    <a:pt x="26149" y="206921"/>
                  </a:moveTo>
                  <a:lnTo>
                    <a:pt x="15239" y="206921"/>
                  </a:lnTo>
                  <a:lnTo>
                    <a:pt x="21666" y="226187"/>
                  </a:lnTo>
                  <a:lnTo>
                    <a:pt x="23647" y="227609"/>
                  </a:lnTo>
                  <a:lnTo>
                    <a:pt x="286740" y="227609"/>
                  </a:lnTo>
                  <a:lnTo>
                    <a:pt x="288721" y="226187"/>
                  </a:lnTo>
                  <a:lnTo>
                    <a:pt x="291693" y="217258"/>
                  </a:lnTo>
                  <a:lnTo>
                    <a:pt x="29603" y="217258"/>
                  </a:lnTo>
                  <a:lnTo>
                    <a:pt x="26149" y="206921"/>
                  </a:lnTo>
                  <a:close/>
                </a:path>
                <a:path w="311150" h="227964">
                  <a:moveTo>
                    <a:pt x="295135" y="206921"/>
                  </a:moveTo>
                  <a:lnTo>
                    <a:pt x="284238" y="206921"/>
                  </a:lnTo>
                  <a:lnTo>
                    <a:pt x="280784" y="217258"/>
                  </a:lnTo>
                  <a:lnTo>
                    <a:pt x="291693" y="217258"/>
                  </a:lnTo>
                  <a:lnTo>
                    <a:pt x="295135" y="206921"/>
                  </a:lnTo>
                  <a:close/>
                </a:path>
                <a:path w="311150" h="227964">
                  <a:moveTo>
                    <a:pt x="308063" y="196570"/>
                  </a:moveTo>
                  <a:lnTo>
                    <a:pt x="2324" y="196570"/>
                  </a:lnTo>
                  <a:lnTo>
                    <a:pt x="0" y="198882"/>
                  </a:lnTo>
                  <a:lnTo>
                    <a:pt x="0" y="204597"/>
                  </a:lnTo>
                  <a:lnTo>
                    <a:pt x="2324" y="206921"/>
                  </a:lnTo>
                  <a:lnTo>
                    <a:pt x="308063" y="206921"/>
                  </a:lnTo>
                  <a:lnTo>
                    <a:pt x="310375" y="204597"/>
                  </a:lnTo>
                  <a:lnTo>
                    <a:pt x="310375" y="198882"/>
                  </a:lnTo>
                  <a:lnTo>
                    <a:pt x="308063" y="196570"/>
                  </a:lnTo>
                  <a:close/>
                </a:path>
                <a:path w="311150" h="227964">
                  <a:moveTo>
                    <a:pt x="282206" y="103454"/>
                  </a:moveTo>
                  <a:lnTo>
                    <a:pt x="152336" y="103454"/>
                  </a:lnTo>
                  <a:lnTo>
                    <a:pt x="150025" y="105778"/>
                  </a:lnTo>
                  <a:lnTo>
                    <a:pt x="150025" y="155181"/>
                  </a:lnTo>
                  <a:lnTo>
                    <a:pt x="2324" y="155181"/>
                  </a:lnTo>
                  <a:lnTo>
                    <a:pt x="12" y="157505"/>
                  </a:lnTo>
                  <a:lnTo>
                    <a:pt x="101" y="161467"/>
                  </a:lnTo>
                  <a:lnTo>
                    <a:pt x="11798" y="196570"/>
                  </a:lnTo>
                  <a:lnTo>
                    <a:pt x="22694" y="196570"/>
                  </a:lnTo>
                  <a:lnTo>
                    <a:pt x="12357" y="165531"/>
                  </a:lnTo>
                  <a:lnTo>
                    <a:pt x="308939" y="165531"/>
                  </a:lnTo>
                  <a:lnTo>
                    <a:pt x="311022" y="159283"/>
                  </a:lnTo>
                  <a:lnTo>
                    <a:pt x="309549" y="156362"/>
                  </a:lnTo>
                  <a:lnTo>
                    <a:pt x="306323" y="155282"/>
                  </a:lnTo>
                  <a:lnTo>
                    <a:pt x="305835" y="155194"/>
                  </a:lnTo>
                  <a:lnTo>
                    <a:pt x="160362" y="155194"/>
                  </a:lnTo>
                  <a:lnTo>
                    <a:pt x="160362" y="113804"/>
                  </a:lnTo>
                  <a:lnTo>
                    <a:pt x="181051" y="113804"/>
                  </a:lnTo>
                  <a:lnTo>
                    <a:pt x="284518" y="113792"/>
                  </a:lnTo>
                  <a:lnTo>
                    <a:pt x="284518" y="105778"/>
                  </a:lnTo>
                  <a:lnTo>
                    <a:pt x="282206" y="103454"/>
                  </a:lnTo>
                  <a:close/>
                </a:path>
                <a:path w="311150" h="227964">
                  <a:moveTo>
                    <a:pt x="308939" y="165531"/>
                  </a:moveTo>
                  <a:lnTo>
                    <a:pt x="298030" y="165531"/>
                  </a:lnTo>
                  <a:lnTo>
                    <a:pt x="287680" y="196570"/>
                  </a:lnTo>
                  <a:lnTo>
                    <a:pt x="298589" y="196570"/>
                  </a:lnTo>
                  <a:lnTo>
                    <a:pt x="308939" y="165531"/>
                  </a:lnTo>
                  <a:close/>
                </a:path>
                <a:path w="311150" h="227964">
                  <a:moveTo>
                    <a:pt x="181051" y="113804"/>
                  </a:moveTo>
                  <a:lnTo>
                    <a:pt x="170713" y="113804"/>
                  </a:lnTo>
                  <a:lnTo>
                    <a:pt x="170713" y="155194"/>
                  </a:lnTo>
                  <a:lnTo>
                    <a:pt x="243128" y="155194"/>
                  </a:lnTo>
                  <a:lnTo>
                    <a:pt x="181051" y="155181"/>
                  </a:lnTo>
                  <a:lnTo>
                    <a:pt x="181051" y="113804"/>
                  </a:lnTo>
                  <a:close/>
                </a:path>
                <a:path w="311150" h="227964">
                  <a:moveTo>
                    <a:pt x="263817" y="113804"/>
                  </a:moveTo>
                  <a:lnTo>
                    <a:pt x="253479" y="113804"/>
                  </a:lnTo>
                  <a:lnTo>
                    <a:pt x="253479" y="155194"/>
                  </a:lnTo>
                  <a:lnTo>
                    <a:pt x="263817" y="155194"/>
                  </a:lnTo>
                  <a:lnTo>
                    <a:pt x="263817" y="113804"/>
                  </a:lnTo>
                  <a:close/>
                </a:path>
                <a:path w="311150" h="227964">
                  <a:moveTo>
                    <a:pt x="284518" y="113804"/>
                  </a:moveTo>
                  <a:lnTo>
                    <a:pt x="274167" y="113804"/>
                  </a:lnTo>
                  <a:lnTo>
                    <a:pt x="274167" y="155194"/>
                  </a:lnTo>
                  <a:lnTo>
                    <a:pt x="305835" y="155194"/>
                  </a:lnTo>
                  <a:lnTo>
                    <a:pt x="284518" y="155181"/>
                  </a:lnTo>
                  <a:lnTo>
                    <a:pt x="284518" y="113804"/>
                  </a:lnTo>
                  <a:close/>
                </a:path>
                <a:path w="311150" h="227964">
                  <a:moveTo>
                    <a:pt x="127012" y="62077"/>
                  </a:moveTo>
                  <a:lnTo>
                    <a:pt x="38531" y="62077"/>
                  </a:lnTo>
                  <a:lnTo>
                    <a:pt x="36220" y="64389"/>
                  </a:lnTo>
                  <a:lnTo>
                    <a:pt x="36220" y="155181"/>
                  </a:lnTo>
                  <a:lnTo>
                    <a:pt x="46558" y="155181"/>
                  </a:lnTo>
                  <a:lnTo>
                    <a:pt x="46558" y="72415"/>
                  </a:lnTo>
                  <a:lnTo>
                    <a:pt x="129324" y="72415"/>
                  </a:lnTo>
                  <a:lnTo>
                    <a:pt x="129324" y="64389"/>
                  </a:lnTo>
                  <a:lnTo>
                    <a:pt x="127012" y="62077"/>
                  </a:lnTo>
                  <a:close/>
                </a:path>
                <a:path w="311150" h="227964">
                  <a:moveTo>
                    <a:pt x="129324" y="72415"/>
                  </a:moveTo>
                  <a:lnTo>
                    <a:pt x="118986" y="72415"/>
                  </a:lnTo>
                  <a:lnTo>
                    <a:pt x="118986" y="82765"/>
                  </a:lnTo>
                  <a:lnTo>
                    <a:pt x="69570" y="82765"/>
                  </a:lnTo>
                  <a:lnTo>
                    <a:pt x="67259" y="85077"/>
                  </a:lnTo>
                  <a:lnTo>
                    <a:pt x="67246" y="111493"/>
                  </a:lnTo>
                  <a:lnTo>
                    <a:pt x="69570" y="113804"/>
                  </a:lnTo>
                  <a:lnTo>
                    <a:pt x="118986" y="113804"/>
                  </a:lnTo>
                  <a:lnTo>
                    <a:pt x="118986" y="155181"/>
                  </a:lnTo>
                  <a:lnTo>
                    <a:pt x="129324" y="155181"/>
                  </a:lnTo>
                  <a:lnTo>
                    <a:pt x="129324" y="103454"/>
                  </a:lnTo>
                  <a:lnTo>
                    <a:pt x="77596" y="103454"/>
                  </a:lnTo>
                  <a:lnTo>
                    <a:pt x="77596" y="93103"/>
                  </a:lnTo>
                  <a:lnTo>
                    <a:pt x="129324" y="93103"/>
                  </a:lnTo>
                  <a:lnTo>
                    <a:pt x="129324" y="72415"/>
                  </a:lnTo>
                  <a:close/>
                </a:path>
                <a:path w="311150" h="227964">
                  <a:moveTo>
                    <a:pt x="201739" y="113792"/>
                  </a:moveTo>
                  <a:lnTo>
                    <a:pt x="191401" y="113792"/>
                  </a:lnTo>
                  <a:lnTo>
                    <a:pt x="191401" y="155181"/>
                  </a:lnTo>
                  <a:lnTo>
                    <a:pt x="201739" y="155181"/>
                  </a:lnTo>
                  <a:lnTo>
                    <a:pt x="201739" y="113792"/>
                  </a:lnTo>
                  <a:close/>
                </a:path>
                <a:path w="311150" h="227964">
                  <a:moveTo>
                    <a:pt x="222440" y="113792"/>
                  </a:moveTo>
                  <a:lnTo>
                    <a:pt x="212089" y="113792"/>
                  </a:lnTo>
                  <a:lnTo>
                    <a:pt x="212089" y="155181"/>
                  </a:lnTo>
                  <a:lnTo>
                    <a:pt x="222440" y="155181"/>
                  </a:lnTo>
                  <a:lnTo>
                    <a:pt x="222440" y="113792"/>
                  </a:lnTo>
                  <a:close/>
                </a:path>
                <a:path w="311150" h="227964">
                  <a:moveTo>
                    <a:pt x="284518" y="113792"/>
                  </a:moveTo>
                  <a:lnTo>
                    <a:pt x="232790" y="113792"/>
                  </a:lnTo>
                  <a:lnTo>
                    <a:pt x="232790" y="155181"/>
                  </a:lnTo>
                  <a:lnTo>
                    <a:pt x="243128" y="155181"/>
                  </a:lnTo>
                  <a:lnTo>
                    <a:pt x="243128" y="113804"/>
                  </a:lnTo>
                  <a:lnTo>
                    <a:pt x="284518" y="113804"/>
                  </a:lnTo>
                  <a:close/>
                </a:path>
                <a:path w="311150" h="227964">
                  <a:moveTo>
                    <a:pt x="129324" y="93103"/>
                  </a:moveTo>
                  <a:lnTo>
                    <a:pt x="118986" y="93103"/>
                  </a:lnTo>
                  <a:lnTo>
                    <a:pt x="118986" y="103454"/>
                  </a:lnTo>
                  <a:lnTo>
                    <a:pt x="129324" y="103454"/>
                  </a:lnTo>
                  <a:lnTo>
                    <a:pt x="129324" y="93103"/>
                  </a:lnTo>
                  <a:close/>
                </a:path>
                <a:path w="311150" h="227964">
                  <a:moveTo>
                    <a:pt x="240817" y="62077"/>
                  </a:moveTo>
                  <a:lnTo>
                    <a:pt x="162686" y="62077"/>
                  </a:lnTo>
                  <a:lnTo>
                    <a:pt x="160362" y="64389"/>
                  </a:lnTo>
                  <a:lnTo>
                    <a:pt x="160362" y="103454"/>
                  </a:lnTo>
                  <a:lnTo>
                    <a:pt x="170713" y="103454"/>
                  </a:lnTo>
                  <a:lnTo>
                    <a:pt x="170713" y="72415"/>
                  </a:lnTo>
                  <a:lnTo>
                    <a:pt x="243128" y="72415"/>
                  </a:lnTo>
                  <a:lnTo>
                    <a:pt x="243128" y="64389"/>
                  </a:lnTo>
                  <a:lnTo>
                    <a:pt x="240817" y="62077"/>
                  </a:lnTo>
                  <a:close/>
                </a:path>
                <a:path w="311150" h="227964">
                  <a:moveTo>
                    <a:pt x="243128" y="72415"/>
                  </a:moveTo>
                  <a:lnTo>
                    <a:pt x="232790" y="72415"/>
                  </a:lnTo>
                  <a:lnTo>
                    <a:pt x="232790" y="103454"/>
                  </a:lnTo>
                  <a:lnTo>
                    <a:pt x="243128" y="103454"/>
                  </a:lnTo>
                  <a:lnTo>
                    <a:pt x="243128" y="72415"/>
                  </a:lnTo>
                  <a:close/>
                </a:path>
                <a:path w="311150" h="227964">
                  <a:moveTo>
                    <a:pt x="77596" y="10350"/>
                  </a:moveTo>
                  <a:lnTo>
                    <a:pt x="33362" y="10350"/>
                  </a:lnTo>
                  <a:lnTo>
                    <a:pt x="31038" y="12661"/>
                  </a:lnTo>
                  <a:lnTo>
                    <a:pt x="31038" y="39065"/>
                  </a:lnTo>
                  <a:lnTo>
                    <a:pt x="33350" y="41376"/>
                  </a:lnTo>
                  <a:lnTo>
                    <a:pt x="36207" y="41389"/>
                  </a:lnTo>
                  <a:lnTo>
                    <a:pt x="67246" y="41389"/>
                  </a:lnTo>
                  <a:lnTo>
                    <a:pt x="67246" y="62077"/>
                  </a:lnTo>
                  <a:lnTo>
                    <a:pt x="77596" y="62077"/>
                  </a:lnTo>
                  <a:lnTo>
                    <a:pt x="77596" y="31038"/>
                  </a:lnTo>
                  <a:lnTo>
                    <a:pt x="41389" y="31038"/>
                  </a:lnTo>
                  <a:lnTo>
                    <a:pt x="41389" y="20688"/>
                  </a:lnTo>
                  <a:lnTo>
                    <a:pt x="77596" y="20688"/>
                  </a:lnTo>
                  <a:lnTo>
                    <a:pt x="77596" y="10350"/>
                  </a:lnTo>
                  <a:close/>
                </a:path>
                <a:path w="311150" h="227964">
                  <a:moveTo>
                    <a:pt x="132181" y="10350"/>
                  </a:moveTo>
                  <a:lnTo>
                    <a:pt x="87947" y="10350"/>
                  </a:lnTo>
                  <a:lnTo>
                    <a:pt x="87947" y="62077"/>
                  </a:lnTo>
                  <a:lnTo>
                    <a:pt x="98285" y="62077"/>
                  </a:lnTo>
                  <a:lnTo>
                    <a:pt x="98285" y="41389"/>
                  </a:lnTo>
                  <a:lnTo>
                    <a:pt x="132194" y="41376"/>
                  </a:lnTo>
                  <a:lnTo>
                    <a:pt x="134505" y="39065"/>
                  </a:lnTo>
                  <a:lnTo>
                    <a:pt x="134505" y="31038"/>
                  </a:lnTo>
                  <a:lnTo>
                    <a:pt x="98285" y="31038"/>
                  </a:lnTo>
                  <a:lnTo>
                    <a:pt x="98285" y="20688"/>
                  </a:lnTo>
                  <a:lnTo>
                    <a:pt x="134505" y="20688"/>
                  </a:lnTo>
                  <a:lnTo>
                    <a:pt x="134505" y="12661"/>
                  </a:lnTo>
                  <a:lnTo>
                    <a:pt x="132181" y="10350"/>
                  </a:lnTo>
                  <a:close/>
                </a:path>
                <a:path w="311150" h="227964">
                  <a:moveTo>
                    <a:pt x="189090" y="20688"/>
                  </a:moveTo>
                  <a:lnTo>
                    <a:pt x="124155" y="20688"/>
                  </a:lnTo>
                  <a:lnTo>
                    <a:pt x="124155" y="31038"/>
                  </a:lnTo>
                  <a:lnTo>
                    <a:pt x="181051" y="31038"/>
                  </a:lnTo>
                  <a:lnTo>
                    <a:pt x="181051" y="49415"/>
                  </a:lnTo>
                  <a:lnTo>
                    <a:pt x="183375" y="51727"/>
                  </a:lnTo>
                  <a:lnTo>
                    <a:pt x="189090" y="51727"/>
                  </a:lnTo>
                  <a:lnTo>
                    <a:pt x="191401" y="49415"/>
                  </a:lnTo>
                  <a:lnTo>
                    <a:pt x="191401" y="23012"/>
                  </a:lnTo>
                  <a:lnTo>
                    <a:pt x="189090" y="20688"/>
                  </a:lnTo>
                  <a:close/>
                </a:path>
                <a:path w="311150" h="227964">
                  <a:moveTo>
                    <a:pt x="77596" y="20688"/>
                  </a:moveTo>
                  <a:lnTo>
                    <a:pt x="67259" y="20688"/>
                  </a:lnTo>
                  <a:lnTo>
                    <a:pt x="67259" y="31038"/>
                  </a:lnTo>
                  <a:lnTo>
                    <a:pt x="77596" y="31038"/>
                  </a:lnTo>
                  <a:lnTo>
                    <a:pt x="77596" y="20688"/>
                  </a:lnTo>
                  <a:close/>
                </a:path>
                <a:path w="311150" h="227964">
                  <a:moveTo>
                    <a:pt x="95973" y="0"/>
                  </a:moveTo>
                  <a:lnTo>
                    <a:pt x="69570" y="0"/>
                  </a:lnTo>
                  <a:lnTo>
                    <a:pt x="67259" y="2311"/>
                  </a:lnTo>
                  <a:lnTo>
                    <a:pt x="67246" y="10350"/>
                  </a:lnTo>
                  <a:lnTo>
                    <a:pt x="98285" y="10350"/>
                  </a:lnTo>
                  <a:lnTo>
                    <a:pt x="98285" y="2311"/>
                  </a:lnTo>
                  <a:lnTo>
                    <a:pt x="95973" y="0"/>
                  </a:lnTo>
                  <a:close/>
                </a:path>
              </a:pathLst>
            </a:custGeom>
            <a:solidFill>
              <a:srgbClr val="565658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5" name="object 15"/>
            <p:cNvSpPr/>
            <p:nvPr/>
          </p:nvSpPr>
          <p:spPr>
            <a:xfrm>
              <a:off x="544992" y="5821590"/>
              <a:ext cx="20955" cy="10795"/>
            </a:xfrm>
            <a:custGeom>
              <a:avLst/>
              <a:gdLst/>
              <a:ahLst/>
              <a:cxnLst/>
              <a:rect l="l" t="t" r="r" b="b"/>
              <a:pathLst>
                <a:path w="20954" h="10795">
                  <a:moveTo>
                    <a:pt x="18376" y="0"/>
                  </a:moveTo>
                  <a:lnTo>
                    <a:pt x="2311" y="0"/>
                  </a:lnTo>
                  <a:lnTo>
                    <a:pt x="0" y="2311"/>
                  </a:lnTo>
                  <a:lnTo>
                    <a:pt x="0" y="8026"/>
                  </a:lnTo>
                  <a:lnTo>
                    <a:pt x="2311" y="10350"/>
                  </a:lnTo>
                  <a:lnTo>
                    <a:pt x="18376" y="10350"/>
                  </a:lnTo>
                  <a:lnTo>
                    <a:pt x="20688" y="8026"/>
                  </a:lnTo>
                  <a:lnTo>
                    <a:pt x="20688" y="2311"/>
                  </a:lnTo>
                  <a:lnTo>
                    <a:pt x="18376" y="0"/>
                  </a:lnTo>
                  <a:close/>
                </a:path>
              </a:pathLst>
            </a:custGeom>
            <a:solidFill>
              <a:srgbClr val="565658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4" name="object 14"/>
            <p:cNvSpPr/>
            <p:nvPr/>
          </p:nvSpPr>
          <p:spPr>
            <a:xfrm>
              <a:off x="576030" y="5821590"/>
              <a:ext cx="20955" cy="10795"/>
            </a:xfrm>
            <a:custGeom>
              <a:avLst/>
              <a:gdLst/>
              <a:ahLst/>
              <a:cxnLst/>
              <a:rect l="l" t="t" r="r" b="b"/>
              <a:pathLst>
                <a:path w="20954" h="10795">
                  <a:moveTo>
                    <a:pt x="18376" y="0"/>
                  </a:moveTo>
                  <a:lnTo>
                    <a:pt x="2311" y="0"/>
                  </a:lnTo>
                  <a:lnTo>
                    <a:pt x="0" y="2311"/>
                  </a:lnTo>
                  <a:lnTo>
                    <a:pt x="0" y="8026"/>
                  </a:lnTo>
                  <a:lnTo>
                    <a:pt x="2311" y="10350"/>
                  </a:lnTo>
                  <a:lnTo>
                    <a:pt x="18376" y="10350"/>
                  </a:lnTo>
                  <a:lnTo>
                    <a:pt x="20688" y="8026"/>
                  </a:lnTo>
                  <a:lnTo>
                    <a:pt x="20688" y="2311"/>
                  </a:lnTo>
                  <a:lnTo>
                    <a:pt x="18376" y="0"/>
                  </a:lnTo>
                  <a:close/>
                </a:path>
              </a:pathLst>
            </a:custGeom>
            <a:solidFill>
              <a:srgbClr val="565658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sp>
        <p:nvSpPr>
          <p:cNvPr id="7" name="object 7"/>
          <p:cNvSpPr/>
          <p:nvPr/>
        </p:nvSpPr>
        <p:spPr>
          <a:xfrm>
            <a:off x="2091702" y="5720803"/>
            <a:ext cx="245101" cy="204241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21" name="Grupa 20"/>
          <p:cNvGrpSpPr/>
          <p:nvPr/>
        </p:nvGrpSpPr>
        <p:grpSpPr>
          <a:xfrm>
            <a:off x="1033344" y="5745607"/>
            <a:ext cx="291465" cy="179070"/>
            <a:chOff x="1033344" y="5745607"/>
            <a:chExt cx="291465" cy="179070"/>
          </a:xfrm>
        </p:grpSpPr>
        <p:sp>
          <p:nvSpPr>
            <p:cNvPr id="11" name="object 11"/>
            <p:cNvSpPr/>
            <p:nvPr/>
          </p:nvSpPr>
          <p:spPr>
            <a:xfrm>
              <a:off x="1033344" y="5745607"/>
              <a:ext cx="291465" cy="179070"/>
            </a:xfrm>
            <a:custGeom>
              <a:avLst/>
              <a:gdLst/>
              <a:ahLst/>
              <a:cxnLst/>
              <a:rect l="l" t="t" r="r" b="b"/>
              <a:pathLst>
                <a:path w="291465" h="179070">
                  <a:moveTo>
                    <a:pt x="182105" y="0"/>
                  </a:moveTo>
                  <a:lnTo>
                    <a:pt x="2171" y="0"/>
                  </a:lnTo>
                  <a:lnTo>
                    <a:pt x="0" y="2171"/>
                  </a:lnTo>
                  <a:lnTo>
                    <a:pt x="0" y="157873"/>
                  </a:lnTo>
                  <a:lnTo>
                    <a:pt x="2158" y="160032"/>
                  </a:lnTo>
                  <a:lnTo>
                    <a:pt x="19875" y="160032"/>
                  </a:lnTo>
                  <a:lnTo>
                    <a:pt x="23631" y="168898"/>
                  </a:lnTo>
                  <a:lnTo>
                    <a:pt x="30267" y="175412"/>
                  </a:lnTo>
                  <a:lnTo>
                    <a:pt x="38860" y="178963"/>
                  </a:lnTo>
                  <a:lnTo>
                    <a:pt x="48488" y="178942"/>
                  </a:lnTo>
                  <a:lnTo>
                    <a:pt x="56324" y="175858"/>
                  </a:lnTo>
                  <a:lnTo>
                    <a:pt x="62437" y="170499"/>
                  </a:lnTo>
                  <a:lnTo>
                    <a:pt x="62871" y="169735"/>
                  </a:lnTo>
                  <a:lnTo>
                    <a:pt x="35585" y="169722"/>
                  </a:lnTo>
                  <a:lnTo>
                    <a:pt x="29095" y="163220"/>
                  </a:lnTo>
                  <a:lnTo>
                    <a:pt x="29095" y="150342"/>
                  </a:lnTo>
                  <a:lnTo>
                    <a:pt x="9690" y="150342"/>
                  </a:lnTo>
                  <a:lnTo>
                    <a:pt x="9690" y="135788"/>
                  </a:lnTo>
                  <a:lnTo>
                    <a:pt x="22072" y="135788"/>
                  </a:lnTo>
                  <a:lnTo>
                    <a:pt x="24244" y="133616"/>
                  </a:lnTo>
                  <a:lnTo>
                    <a:pt x="24244" y="128257"/>
                  </a:lnTo>
                  <a:lnTo>
                    <a:pt x="22072" y="126085"/>
                  </a:lnTo>
                  <a:lnTo>
                    <a:pt x="9690" y="126085"/>
                  </a:lnTo>
                  <a:lnTo>
                    <a:pt x="9690" y="116395"/>
                  </a:lnTo>
                  <a:lnTo>
                    <a:pt x="290967" y="116395"/>
                  </a:lnTo>
                  <a:lnTo>
                    <a:pt x="290969" y="108864"/>
                  </a:lnTo>
                  <a:lnTo>
                    <a:pt x="288797" y="106692"/>
                  </a:lnTo>
                  <a:lnTo>
                    <a:pt x="9690" y="106692"/>
                  </a:lnTo>
                  <a:lnTo>
                    <a:pt x="9690" y="9702"/>
                  </a:lnTo>
                  <a:lnTo>
                    <a:pt x="184276" y="9702"/>
                  </a:lnTo>
                  <a:lnTo>
                    <a:pt x="184276" y="2171"/>
                  </a:lnTo>
                  <a:lnTo>
                    <a:pt x="182105" y="0"/>
                  </a:lnTo>
                  <a:close/>
                </a:path>
                <a:path w="291465" h="179070">
                  <a:moveTo>
                    <a:pt x="77584" y="155397"/>
                  </a:moveTo>
                  <a:lnTo>
                    <a:pt x="67881" y="155397"/>
                  </a:lnTo>
                  <a:lnTo>
                    <a:pt x="67998" y="157860"/>
                  </a:lnTo>
                  <a:lnTo>
                    <a:pt x="87350" y="178963"/>
                  </a:lnTo>
                  <a:lnTo>
                    <a:pt x="96977" y="178942"/>
                  </a:lnTo>
                  <a:lnTo>
                    <a:pt x="103677" y="176507"/>
                  </a:lnTo>
                  <a:lnTo>
                    <a:pt x="109275" y="172331"/>
                  </a:lnTo>
                  <a:lnTo>
                    <a:pt x="111212" y="169735"/>
                  </a:lnTo>
                  <a:lnTo>
                    <a:pt x="84086" y="169722"/>
                  </a:lnTo>
                  <a:lnTo>
                    <a:pt x="77584" y="163220"/>
                  </a:lnTo>
                  <a:lnTo>
                    <a:pt x="77584" y="155397"/>
                  </a:lnTo>
                  <a:close/>
                </a:path>
                <a:path w="291465" h="179070">
                  <a:moveTo>
                    <a:pt x="223075" y="160032"/>
                  </a:moveTo>
                  <a:lnTo>
                    <a:pt x="213867" y="160032"/>
                  </a:lnTo>
                  <a:lnTo>
                    <a:pt x="217617" y="168898"/>
                  </a:lnTo>
                  <a:lnTo>
                    <a:pt x="224248" y="175412"/>
                  </a:lnTo>
                  <a:lnTo>
                    <a:pt x="232840" y="178963"/>
                  </a:lnTo>
                  <a:lnTo>
                    <a:pt x="242468" y="178942"/>
                  </a:lnTo>
                  <a:lnTo>
                    <a:pt x="249168" y="176507"/>
                  </a:lnTo>
                  <a:lnTo>
                    <a:pt x="254766" y="172331"/>
                  </a:lnTo>
                  <a:lnTo>
                    <a:pt x="256703" y="169735"/>
                  </a:lnTo>
                  <a:lnTo>
                    <a:pt x="229565" y="169722"/>
                  </a:lnTo>
                  <a:lnTo>
                    <a:pt x="223075" y="163220"/>
                  </a:lnTo>
                  <a:lnTo>
                    <a:pt x="223075" y="160032"/>
                  </a:lnTo>
                  <a:close/>
                </a:path>
                <a:path w="291465" h="179070">
                  <a:moveTo>
                    <a:pt x="62790" y="140639"/>
                  </a:moveTo>
                  <a:lnTo>
                    <a:pt x="51676" y="140639"/>
                  </a:lnTo>
                  <a:lnTo>
                    <a:pt x="58191" y="147154"/>
                  </a:lnTo>
                  <a:lnTo>
                    <a:pt x="58191" y="163220"/>
                  </a:lnTo>
                  <a:lnTo>
                    <a:pt x="51676" y="169735"/>
                  </a:lnTo>
                  <a:lnTo>
                    <a:pt x="62878" y="169722"/>
                  </a:lnTo>
                  <a:lnTo>
                    <a:pt x="66424" y="163474"/>
                  </a:lnTo>
                  <a:lnTo>
                    <a:pt x="67881" y="155397"/>
                  </a:lnTo>
                  <a:lnTo>
                    <a:pt x="77584" y="155397"/>
                  </a:lnTo>
                  <a:lnTo>
                    <a:pt x="77584" y="154978"/>
                  </a:lnTo>
                  <a:lnTo>
                    <a:pt x="67881" y="154978"/>
                  </a:lnTo>
                  <a:lnTo>
                    <a:pt x="67868" y="153454"/>
                  </a:lnTo>
                  <a:lnTo>
                    <a:pt x="67716" y="151891"/>
                  </a:lnTo>
                  <a:lnTo>
                    <a:pt x="67398" y="150342"/>
                  </a:lnTo>
                  <a:lnTo>
                    <a:pt x="63642" y="141476"/>
                  </a:lnTo>
                  <a:lnTo>
                    <a:pt x="62790" y="140639"/>
                  </a:lnTo>
                  <a:close/>
                </a:path>
                <a:path w="291465" h="179070">
                  <a:moveTo>
                    <a:pt x="111281" y="140639"/>
                  </a:moveTo>
                  <a:lnTo>
                    <a:pt x="100164" y="140639"/>
                  </a:lnTo>
                  <a:lnTo>
                    <a:pt x="106679" y="147154"/>
                  </a:lnTo>
                  <a:lnTo>
                    <a:pt x="106679" y="163220"/>
                  </a:lnTo>
                  <a:lnTo>
                    <a:pt x="100164" y="169722"/>
                  </a:lnTo>
                  <a:lnTo>
                    <a:pt x="92138" y="169735"/>
                  </a:lnTo>
                  <a:lnTo>
                    <a:pt x="111221" y="169722"/>
                  </a:lnTo>
                  <a:lnTo>
                    <a:pt x="113452" y="166732"/>
                  </a:lnTo>
                  <a:lnTo>
                    <a:pt x="115887" y="160032"/>
                  </a:lnTo>
                  <a:lnTo>
                    <a:pt x="223075" y="160032"/>
                  </a:lnTo>
                  <a:lnTo>
                    <a:pt x="223075" y="150342"/>
                  </a:lnTo>
                  <a:lnTo>
                    <a:pt x="115887" y="150342"/>
                  </a:lnTo>
                  <a:lnTo>
                    <a:pt x="112133" y="141476"/>
                  </a:lnTo>
                  <a:lnTo>
                    <a:pt x="111281" y="140639"/>
                  </a:lnTo>
                  <a:close/>
                </a:path>
                <a:path w="291465" h="179070">
                  <a:moveTo>
                    <a:pt x="256770" y="140639"/>
                  </a:moveTo>
                  <a:lnTo>
                    <a:pt x="245656" y="140639"/>
                  </a:lnTo>
                  <a:lnTo>
                    <a:pt x="252171" y="147154"/>
                  </a:lnTo>
                  <a:lnTo>
                    <a:pt x="252158" y="163220"/>
                  </a:lnTo>
                  <a:lnTo>
                    <a:pt x="245656" y="169722"/>
                  </a:lnTo>
                  <a:lnTo>
                    <a:pt x="237616" y="169735"/>
                  </a:lnTo>
                  <a:lnTo>
                    <a:pt x="256712" y="169722"/>
                  </a:lnTo>
                  <a:lnTo>
                    <a:pt x="258943" y="166732"/>
                  </a:lnTo>
                  <a:lnTo>
                    <a:pt x="261378" y="160032"/>
                  </a:lnTo>
                  <a:lnTo>
                    <a:pt x="288785" y="160032"/>
                  </a:lnTo>
                  <a:lnTo>
                    <a:pt x="290956" y="157873"/>
                  </a:lnTo>
                  <a:lnTo>
                    <a:pt x="290958" y="150342"/>
                  </a:lnTo>
                  <a:lnTo>
                    <a:pt x="261378" y="150342"/>
                  </a:lnTo>
                  <a:lnTo>
                    <a:pt x="257622" y="141476"/>
                  </a:lnTo>
                  <a:lnTo>
                    <a:pt x="256770" y="140639"/>
                  </a:lnTo>
                  <a:close/>
                </a:path>
                <a:path w="291465" h="179070">
                  <a:moveTo>
                    <a:pt x="96913" y="131411"/>
                  </a:moveTo>
                  <a:lnTo>
                    <a:pt x="67881" y="154978"/>
                  </a:lnTo>
                  <a:lnTo>
                    <a:pt x="77584" y="154978"/>
                  </a:lnTo>
                  <a:lnTo>
                    <a:pt x="77584" y="147154"/>
                  </a:lnTo>
                  <a:lnTo>
                    <a:pt x="84099" y="140639"/>
                  </a:lnTo>
                  <a:lnTo>
                    <a:pt x="111281" y="140639"/>
                  </a:lnTo>
                  <a:lnTo>
                    <a:pt x="105502" y="134962"/>
                  </a:lnTo>
                  <a:lnTo>
                    <a:pt x="96913" y="131411"/>
                  </a:lnTo>
                  <a:close/>
                </a:path>
                <a:path w="291465" h="179070">
                  <a:moveTo>
                    <a:pt x="48414" y="131411"/>
                  </a:moveTo>
                  <a:lnTo>
                    <a:pt x="19875" y="150342"/>
                  </a:lnTo>
                  <a:lnTo>
                    <a:pt x="29095" y="150342"/>
                  </a:lnTo>
                  <a:lnTo>
                    <a:pt x="29095" y="147154"/>
                  </a:lnTo>
                  <a:lnTo>
                    <a:pt x="35610" y="140652"/>
                  </a:lnTo>
                  <a:lnTo>
                    <a:pt x="62790" y="140639"/>
                  </a:lnTo>
                  <a:lnTo>
                    <a:pt x="57007" y="134962"/>
                  </a:lnTo>
                  <a:lnTo>
                    <a:pt x="48414" y="131411"/>
                  </a:lnTo>
                  <a:close/>
                </a:path>
                <a:path w="291465" h="179070">
                  <a:moveTo>
                    <a:pt x="203669" y="116395"/>
                  </a:moveTo>
                  <a:lnTo>
                    <a:pt x="193967" y="116395"/>
                  </a:lnTo>
                  <a:lnTo>
                    <a:pt x="193967" y="150342"/>
                  </a:lnTo>
                  <a:lnTo>
                    <a:pt x="203669" y="150342"/>
                  </a:lnTo>
                  <a:lnTo>
                    <a:pt x="203669" y="116395"/>
                  </a:lnTo>
                  <a:close/>
                </a:path>
                <a:path w="291465" h="179070">
                  <a:moveTo>
                    <a:pt x="242394" y="131411"/>
                  </a:moveTo>
                  <a:lnTo>
                    <a:pt x="213855" y="150342"/>
                  </a:lnTo>
                  <a:lnTo>
                    <a:pt x="223075" y="150342"/>
                  </a:lnTo>
                  <a:lnTo>
                    <a:pt x="223075" y="147154"/>
                  </a:lnTo>
                  <a:lnTo>
                    <a:pt x="229577" y="140639"/>
                  </a:lnTo>
                  <a:lnTo>
                    <a:pt x="256770" y="140639"/>
                  </a:lnTo>
                  <a:lnTo>
                    <a:pt x="250986" y="134962"/>
                  </a:lnTo>
                  <a:lnTo>
                    <a:pt x="242394" y="131411"/>
                  </a:lnTo>
                  <a:close/>
                </a:path>
                <a:path w="291465" h="179070">
                  <a:moveTo>
                    <a:pt x="290967" y="116395"/>
                  </a:moveTo>
                  <a:lnTo>
                    <a:pt x="281266" y="116395"/>
                  </a:lnTo>
                  <a:lnTo>
                    <a:pt x="281266" y="126085"/>
                  </a:lnTo>
                  <a:lnTo>
                    <a:pt x="268884" y="126085"/>
                  </a:lnTo>
                  <a:lnTo>
                    <a:pt x="266712" y="128257"/>
                  </a:lnTo>
                  <a:lnTo>
                    <a:pt x="266712" y="133616"/>
                  </a:lnTo>
                  <a:lnTo>
                    <a:pt x="268884" y="135788"/>
                  </a:lnTo>
                  <a:lnTo>
                    <a:pt x="281266" y="135788"/>
                  </a:lnTo>
                  <a:lnTo>
                    <a:pt x="281266" y="150342"/>
                  </a:lnTo>
                  <a:lnTo>
                    <a:pt x="290958" y="150342"/>
                  </a:lnTo>
                  <a:lnTo>
                    <a:pt x="290967" y="116395"/>
                  </a:lnTo>
                  <a:close/>
                </a:path>
                <a:path w="291465" h="179070">
                  <a:moveTo>
                    <a:pt x="184276" y="9702"/>
                  </a:moveTo>
                  <a:lnTo>
                    <a:pt x="174574" y="9702"/>
                  </a:lnTo>
                  <a:lnTo>
                    <a:pt x="174574" y="106692"/>
                  </a:lnTo>
                  <a:lnTo>
                    <a:pt x="184276" y="106692"/>
                  </a:lnTo>
                  <a:lnTo>
                    <a:pt x="184276" y="9702"/>
                  </a:lnTo>
                  <a:close/>
                </a:path>
                <a:path w="291465" h="179070">
                  <a:moveTo>
                    <a:pt x="197713" y="4279"/>
                  </a:moveTo>
                  <a:lnTo>
                    <a:pt x="194995" y="5702"/>
                  </a:lnTo>
                  <a:lnTo>
                    <a:pt x="194043" y="8724"/>
                  </a:lnTo>
                  <a:lnTo>
                    <a:pt x="193967" y="106692"/>
                  </a:lnTo>
                  <a:lnTo>
                    <a:pt x="203669" y="106692"/>
                  </a:lnTo>
                  <a:lnTo>
                    <a:pt x="203669" y="38798"/>
                  </a:lnTo>
                  <a:lnTo>
                    <a:pt x="281266" y="38798"/>
                  </a:lnTo>
                  <a:lnTo>
                    <a:pt x="278790" y="29819"/>
                  </a:lnTo>
                  <a:lnTo>
                    <a:pt x="278561" y="29667"/>
                  </a:lnTo>
                  <a:lnTo>
                    <a:pt x="278320" y="29540"/>
                  </a:lnTo>
                  <a:lnTo>
                    <a:pt x="277990" y="29400"/>
                  </a:lnTo>
                  <a:lnTo>
                    <a:pt x="277126" y="29095"/>
                  </a:lnTo>
                  <a:lnTo>
                    <a:pt x="203669" y="29095"/>
                  </a:lnTo>
                  <a:lnTo>
                    <a:pt x="203669" y="16294"/>
                  </a:lnTo>
                  <a:lnTo>
                    <a:pt x="236160" y="16294"/>
                  </a:lnTo>
                  <a:lnTo>
                    <a:pt x="197713" y="4279"/>
                  </a:lnTo>
                  <a:close/>
                </a:path>
                <a:path w="291465" h="179070">
                  <a:moveTo>
                    <a:pt x="281266" y="38798"/>
                  </a:moveTo>
                  <a:lnTo>
                    <a:pt x="271564" y="38798"/>
                  </a:lnTo>
                  <a:lnTo>
                    <a:pt x="271564" y="48501"/>
                  </a:lnTo>
                  <a:lnTo>
                    <a:pt x="215544" y="48501"/>
                  </a:lnTo>
                  <a:lnTo>
                    <a:pt x="213372" y="50660"/>
                  </a:lnTo>
                  <a:lnTo>
                    <a:pt x="213372" y="85128"/>
                  </a:lnTo>
                  <a:lnTo>
                    <a:pt x="215544" y="87299"/>
                  </a:lnTo>
                  <a:lnTo>
                    <a:pt x="271564" y="87299"/>
                  </a:lnTo>
                  <a:lnTo>
                    <a:pt x="271564" y="106692"/>
                  </a:lnTo>
                  <a:lnTo>
                    <a:pt x="281266" y="106692"/>
                  </a:lnTo>
                  <a:lnTo>
                    <a:pt x="281266" y="77596"/>
                  </a:lnTo>
                  <a:lnTo>
                    <a:pt x="223075" y="77596"/>
                  </a:lnTo>
                  <a:lnTo>
                    <a:pt x="223075" y="58204"/>
                  </a:lnTo>
                  <a:lnTo>
                    <a:pt x="281266" y="58204"/>
                  </a:lnTo>
                  <a:lnTo>
                    <a:pt x="281266" y="38798"/>
                  </a:lnTo>
                  <a:close/>
                </a:path>
                <a:path w="291465" h="179070">
                  <a:moveTo>
                    <a:pt x="281266" y="58204"/>
                  </a:moveTo>
                  <a:lnTo>
                    <a:pt x="271564" y="58204"/>
                  </a:lnTo>
                  <a:lnTo>
                    <a:pt x="271564" y="77596"/>
                  </a:lnTo>
                  <a:lnTo>
                    <a:pt x="281266" y="77596"/>
                  </a:lnTo>
                  <a:lnTo>
                    <a:pt x="281266" y="58204"/>
                  </a:lnTo>
                  <a:close/>
                </a:path>
                <a:path w="291465" h="179070">
                  <a:moveTo>
                    <a:pt x="236160" y="16294"/>
                  </a:moveTo>
                  <a:lnTo>
                    <a:pt x="203669" y="16294"/>
                  </a:lnTo>
                  <a:lnTo>
                    <a:pt x="244640" y="29095"/>
                  </a:lnTo>
                  <a:lnTo>
                    <a:pt x="277126" y="29095"/>
                  </a:lnTo>
                  <a:lnTo>
                    <a:pt x="236160" y="16294"/>
                  </a:lnTo>
                  <a:close/>
                </a:path>
              </a:pathLst>
            </a:custGeom>
            <a:solidFill>
              <a:srgbClr val="565658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2" name="object 12"/>
            <p:cNvSpPr/>
            <p:nvPr/>
          </p:nvSpPr>
          <p:spPr>
            <a:xfrm>
              <a:off x="1062437" y="5765008"/>
              <a:ext cx="126090" cy="77597"/>
            </a:xfrm>
            <a:prstGeom prst="rect">
              <a:avLst/>
            </a:prstGeom>
            <a:blipFill>
              <a:blip r:embed="rId8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9" name="object 9"/>
            <p:cNvSpPr/>
            <p:nvPr/>
          </p:nvSpPr>
          <p:spPr>
            <a:xfrm>
              <a:off x="1067280" y="5891095"/>
              <a:ext cx="19685" cy="19685"/>
            </a:xfrm>
            <a:custGeom>
              <a:avLst/>
              <a:gdLst/>
              <a:ahLst/>
              <a:cxnLst/>
              <a:rect l="l" t="t" r="r" b="b"/>
              <a:pathLst>
                <a:path w="19684" h="19685">
                  <a:moveTo>
                    <a:pt x="15062" y="0"/>
                  </a:moveTo>
                  <a:lnTo>
                    <a:pt x="4343" y="0"/>
                  </a:lnTo>
                  <a:lnTo>
                    <a:pt x="0" y="4343"/>
                  </a:lnTo>
                  <a:lnTo>
                    <a:pt x="0" y="15049"/>
                  </a:lnTo>
                  <a:lnTo>
                    <a:pt x="4343" y="19392"/>
                  </a:lnTo>
                  <a:lnTo>
                    <a:pt x="15062" y="19392"/>
                  </a:lnTo>
                  <a:lnTo>
                    <a:pt x="19405" y="15049"/>
                  </a:lnTo>
                  <a:lnTo>
                    <a:pt x="19405" y="4343"/>
                  </a:lnTo>
                  <a:lnTo>
                    <a:pt x="15062" y="0"/>
                  </a:lnTo>
                  <a:close/>
                </a:path>
              </a:pathLst>
            </a:custGeom>
            <a:solidFill>
              <a:srgbClr val="565658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0" name="object 10"/>
            <p:cNvSpPr/>
            <p:nvPr/>
          </p:nvSpPr>
          <p:spPr>
            <a:xfrm>
              <a:off x="1115775" y="5891095"/>
              <a:ext cx="19685" cy="19685"/>
            </a:xfrm>
            <a:custGeom>
              <a:avLst/>
              <a:gdLst/>
              <a:ahLst/>
              <a:cxnLst/>
              <a:rect l="l" t="t" r="r" b="b"/>
              <a:pathLst>
                <a:path w="19684" h="19685">
                  <a:moveTo>
                    <a:pt x="15062" y="0"/>
                  </a:moveTo>
                  <a:lnTo>
                    <a:pt x="4343" y="0"/>
                  </a:lnTo>
                  <a:lnTo>
                    <a:pt x="0" y="4343"/>
                  </a:lnTo>
                  <a:lnTo>
                    <a:pt x="0" y="15049"/>
                  </a:lnTo>
                  <a:lnTo>
                    <a:pt x="4343" y="19392"/>
                  </a:lnTo>
                  <a:lnTo>
                    <a:pt x="15062" y="19392"/>
                  </a:lnTo>
                  <a:lnTo>
                    <a:pt x="19405" y="15049"/>
                  </a:lnTo>
                  <a:lnTo>
                    <a:pt x="19405" y="4343"/>
                  </a:lnTo>
                  <a:lnTo>
                    <a:pt x="15062" y="0"/>
                  </a:lnTo>
                  <a:close/>
                </a:path>
              </a:pathLst>
            </a:custGeom>
            <a:solidFill>
              <a:srgbClr val="565658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8" name="object 8"/>
            <p:cNvSpPr/>
            <p:nvPr/>
          </p:nvSpPr>
          <p:spPr>
            <a:xfrm>
              <a:off x="1261259" y="5891095"/>
              <a:ext cx="19685" cy="19685"/>
            </a:xfrm>
            <a:custGeom>
              <a:avLst/>
              <a:gdLst/>
              <a:ahLst/>
              <a:cxnLst/>
              <a:rect l="l" t="t" r="r" b="b"/>
              <a:pathLst>
                <a:path w="19684" h="19685">
                  <a:moveTo>
                    <a:pt x="15062" y="0"/>
                  </a:moveTo>
                  <a:lnTo>
                    <a:pt x="4343" y="0"/>
                  </a:lnTo>
                  <a:lnTo>
                    <a:pt x="0" y="4343"/>
                  </a:lnTo>
                  <a:lnTo>
                    <a:pt x="0" y="15049"/>
                  </a:lnTo>
                  <a:lnTo>
                    <a:pt x="4343" y="19392"/>
                  </a:lnTo>
                  <a:lnTo>
                    <a:pt x="15062" y="19392"/>
                  </a:lnTo>
                  <a:lnTo>
                    <a:pt x="19405" y="15049"/>
                  </a:lnTo>
                  <a:lnTo>
                    <a:pt x="19405" y="4343"/>
                  </a:lnTo>
                  <a:lnTo>
                    <a:pt x="15062" y="0"/>
                  </a:lnTo>
                  <a:close/>
                </a:path>
              </a:pathLst>
            </a:custGeom>
            <a:solidFill>
              <a:srgbClr val="565658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pic>
        <p:nvPicPr>
          <p:cNvPr id="24" name="Obraz 76" descr="strzalka-2.png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6958" y="6829425"/>
            <a:ext cx="253916" cy="3515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821669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556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Obraz 69" descr="strzalka.png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2712" y="115084"/>
            <a:ext cx="540000" cy="727158"/>
          </a:xfrm>
          <a:prstGeom prst="rect">
            <a:avLst/>
          </a:prstGeom>
        </p:spPr>
      </p:pic>
      <p:sp>
        <p:nvSpPr>
          <p:cNvPr id="15" name="object 59"/>
          <p:cNvSpPr txBox="1"/>
          <p:nvPr/>
        </p:nvSpPr>
        <p:spPr>
          <a:xfrm>
            <a:off x="446514" y="272118"/>
            <a:ext cx="8250093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algn="l" rtl="0">
              <a:spcBef>
                <a:spcPts val="100"/>
              </a:spcBef>
            </a:pPr>
            <a:r>
              <a:rPr lang="en" b="0" i="0" u="none" baseline="0">
                <a:solidFill>
                  <a:srgbClr val="074F9F"/>
                </a:solidFill>
                <a:latin typeface="Myriad Pro"/>
                <a:ea typeface="Myriad Pro"/>
                <a:cs typeface="Myriad Pro"/>
              </a:rPr>
              <a:t>PKP CARGO Group’s freight turnover in 2020-2021</a:t>
            </a:r>
            <a:endParaRPr dirty="0">
              <a:solidFill>
                <a:srgbClr val="074F9F"/>
              </a:solidFill>
              <a:latin typeface="Myriad Pro"/>
              <a:cs typeface="Myriad Pro"/>
            </a:endParaRPr>
          </a:p>
        </p:txBody>
      </p:sp>
      <p:graphicFrame>
        <p:nvGraphicFramePr>
          <p:cNvPr id="12" name="Tabela 11">
            <a:extLst>
              <a:ext uri="{FF2B5EF4-FFF2-40B4-BE49-F238E27FC236}">
                <a16:creationId xmlns="" xmlns:a16="http://schemas.microsoft.com/office/drawing/2014/main" id="{D53AA13A-A179-F947-993B-2FDD5D19E74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63381751"/>
              </p:ext>
            </p:extLst>
          </p:nvPr>
        </p:nvGraphicFramePr>
        <p:xfrm>
          <a:off x="403462" y="648803"/>
          <a:ext cx="9819250" cy="2991015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827250">
                  <a:extLst>
                    <a:ext uri="{9D8B030D-6E8A-4147-A177-3AD203B41FA5}">
                      <a16:colId xmlns="" xmlns:a16="http://schemas.microsoft.com/office/drawing/2014/main" val="2817067321"/>
                    </a:ext>
                  </a:extLst>
                </a:gridCol>
                <a:gridCol w="1332000">
                  <a:extLst>
                    <a:ext uri="{9D8B030D-6E8A-4147-A177-3AD203B41FA5}">
                      <a16:colId xmlns="" xmlns:a16="http://schemas.microsoft.com/office/drawing/2014/main" val="115760123"/>
                    </a:ext>
                  </a:extLst>
                </a:gridCol>
                <a:gridCol w="1332000">
                  <a:extLst>
                    <a:ext uri="{9D8B030D-6E8A-4147-A177-3AD203B41FA5}">
                      <a16:colId xmlns="" xmlns:a16="http://schemas.microsoft.com/office/drawing/2014/main" val="2862519763"/>
                    </a:ext>
                  </a:extLst>
                </a:gridCol>
                <a:gridCol w="1332000">
                  <a:extLst>
                    <a:ext uri="{9D8B030D-6E8A-4147-A177-3AD203B41FA5}">
                      <a16:colId xmlns="" xmlns:a16="http://schemas.microsoft.com/office/drawing/2014/main" val="1532192963"/>
                    </a:ext>
                  </a:extLst>
                </a:gridCol>
                <a:gridCol w="1332000">
                  <a:extLst>
                    <a:ext uri="{9D8B030D-6E8A-4147-A177-3AD203B41FA5}">
                      <a16:colId xmlns="" xmlns:a16="http://schemas.microsoft.com/office/drawing/2014/main" val="1615670971"/>
                    </a:ext>
                  </a:extLst>
                </a:gridCol>
                <a:gridCol w="1332000">
                  <a:extLst>
                    <a:ext uri="{9D8B030D-6E8A-4147-A177-3AD203B41FA5}">
                      <a16:colId xmlns="" xmlns:a16="http://schemas.microsoft.com/office/drawing/2014/main" val="1906580039"/>
                    </a:ext>
                  </a:extLst>
                </a:gridCol>
                <a:gridCol w="1332000">
                  <a:extLst>
                    <a:ext uri="{9D8B030D-6E8A-4147-A177-3AD203B41FA5}">
                      <a16:colId xmlns="" xmlns:a16="http://schemas.microsoft.com/office/drawing/2014/main" val="592751642"/>
                    </a:ext>
                  </a:extLst>
                </a:gridCol>
              </a:tblGrid>
              <a:tr h="31988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sz="1200" b="1" i="0" u="none" baseline="0">
                          <a:effectLst/>
                        </a:rPr>
                        <a:t>FREIGHT TURNOVER </a:t>
                      </a:r>
                      <a:r>
                        <a:rPr lang="en" sz="1200">
                          <a:effectLst/>
                        </a:rPr>
                        <a:t/>
                      </a:r>
                      <a:br>
                        <a:rPr lang="en" sz="1200">
                          <a:effectLst/>
                        </a:rPr>
                      </a:br>
                      <a:r>
                        <a:rPr lang="en" sz="1200" b="1" i="0" u="none" baseline="0">
                          <a:effectLst/>
                        </a:rPr>
                        <a:t>[million tkm]</a:t>
                      </a:r>
                      <a:endParaRPr lang="en" sz="1200" b="1" i="1" dirty="0">
                        <a:solidFill>
                          <a:srgbClr val="555454"/>
                        </a:solidFill>
                        <a:effectLst/>
                        <a:latin typeface="Myriad Pro" panose="020B0503030403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sz="1200" b="1" i="0" u="none" baseline="0">
                          <a:effectLst/>
                        </a:rPr>
                        <a:t>2021</a:t>
                      </a:r>
                      <a:endParaRPr lang="en" sz="1200" b="1" i="1" dirty="0">
                        <a:solidFill>
                          <a:srgbClr val="555555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sz="1200" b="1" i="0" u="none" baseline="0">
                          <a:effectLst/>
                        </a:rPr>
                        <a:t>2020 </a:t>
                      </a:r>
                      <a:endParaRPr lang="en" sz="1200" b="1" i="1" dirty="0">
                        <a:solidFill>
                          <a:srgbClr val="555555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sz="1200" b="1" i="0" u="none" baseline="0">
                          <a:effectLst/>
                        </a:rPr>
                        <a:t>Change</a:t>
                      </a:r>
                      <a:endParaRPr lang="en" sz="1200" b="1" i="1" dirty="0">
                        <a:solidFill>
                          <a:srgbClr val="555555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sz="1200" b="1" i="0" u="none" baseline="0" dirty="0">
                          <a:effectLst/>
                        </a:rPr>
                        <a:t>% </a:t>
                      </a:r>
                      <a:r>
                        <a:rPr lang="pl-PL" sz="1200" b="1" i="0" u="none" baseline="0" dirty="0">
                          <a:effectLst/>
                        </a:rPr>
                        <a:t>C</a:t>
                      </a:r>
                      <a:r>
                        <a:rPr lang="en" sz="1200" b="1" i="0" u="none" baseline="0" dirty="0">
                          <a:effectLst/>
                        </a:rPr>
                        <a:t>hange</a:t>
                      </a:r>
                      <a:endParaRPr lang="en" sz="1200" b="1" i="1" dirty="0">
                        <a:solidFill>
                          <a:srgbClr val="555555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sz="1200" b="1" i="0" u="none" baseline="0">
                          <a:effectLst/>
                        </a:rPr>
                        <a:t>Share in 2021</a:t>
                      </a:r>
                      <a:endParaRPr lang="en" sz="1200" b="1" i="1" dirty="0">
                        <a:solidFill>
                          <a:srgbClr val="555555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sz="1200" b="1" i="0" u="none" baseline="0">
                          <a:effectLst/>
                        </a:rPr>
                        <a:t>Share in 2020</a:t>
                      </a:r>
                      <a:endParaRPr lang="en" sz="1200" b="1" i="1" dirty="0">
                        <a:solidFill>
                          <a:srgbClr val="555555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790322282"/>
                  </a:ext>
                </a:extLst>
              </a:tr>
              <a:tr h="27067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sz="1050" b="0" i="0" u="none" baseline="0">
                          <a:effectLst/>
                        </a:rPr>
                        <a:t>Solid fuels, including:</a:t>
                      </a:r>
                      <a:endParaRPr lang="en" sz="1050" i="1" dirty="0">
                        <a:solidFill>
                          <a:srgbClr val="555454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 dirty="0">
                          <a:effectLst/>
                        </a:rPr>
                        <a:t>9,583</a:t>
                      </a:r>
                      <a:endParaRPr lang="en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effectLst/>
                        </a:rPr>
                        <a:t>8,621</a:t>
                      </a:r>
                      <a:endParaRPr lang="en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effectLst/>
                        </a:rPr>
                        <a:t>962</a:t>
                      </a:r>
                      <a:endParaRPr lang="en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effectLst/>
                        </a:rPr>
                        <a:t>11.2%</a:t>
                      </a:r>
                      <a:endParaRPr lang="en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effectLst/>
                        </a:rPr>
                        <a:t>37%</a:t>
                      </a:r>
                      <a:endParaRPr lang="en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effectLst/>
                        </a:rPr>
                        <a:t>36%</a:t>
                      </a:r>
                      <a:endParaRPr lang="en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="" xmlns:a16="http://schemas.microsoft.com/office/drawing/2014/main" val="3684107346"/>
                  </a:ext>
                </a:extLst>
              </a:tr>
              <a:tr h="172247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" sz="1050" b="0" i="1" u="none" strike="noStrike" kern="0" cap="none" spc="0" normalizeH="0" baseline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</a:rPr>
                        <a:t>hard coal</a:t>
                      </a:r>
                      <a:endParaRPr kumimoji="0" lang="en" sz="1050" b="0" i="1" u="none" strike="noStrike" kern="0" cap="none" spc="0" normalizeH="0" baseline="0" noProof="0" dirty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1" u="none" baseline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</a:rPr>
                        <a:t>7,848</a:t>
                      </a:r>
                      <a:endParaRPr lang="en" sz="1050" i="1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1" u="none" baseline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</a:rPr>
                        <a:t>7,112</a:t>
                      </a:r>
                      <a:endParaRPr lang="en" sz="1050" i="1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1" u="none" baseline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</a:rPr>
                        <a:t>736</a:t>
                      </a:r>
                      <a:endParaRPr lang="en" sz="1050" i="1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1" u="none" baseline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</a:rPr>
                        <a:t>10.3%</a:t>
                      </a:r>
                      <a:endParaRPr lang="en" sz="1050" i="1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1" u="none" baseline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</a:rPr>
                        <a:t>31%</a:t>
                      </a:r>
                      <a:endParaRPr lang="en" sz="1050" i="1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1" u="none" baseline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</a:rPr>
                        <a:t>30%</a:t>
                      </a:r>
                      <a:endParaRPr lang="en" sz="1050" i="1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="" xmlns:a16="http://schemas.microsoft.com/office/drawing/2014/main" val="3704092277"/>
                  </a:ext>
                </a:extLst>
              </a:tr>
              <a:tr h="1722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sz="1050" b="0" i="0" u="none" baseline="0" dirty="0">
                          <a:effectLst/>
                        </a:rPr>
                        <a:t>Aggregates </a:t>
                      </a:r>
                      <a:r>
                        <a:rPr lang="pl-PL" sz="1050" b="0" i="0" u="none" baseline="0" dirty="0">
                          <a:effectLst/>
                        </a:rPr>
                        <a:t>&amp;</a:t>
                      </a:r>
                      <a:r>
                        <a:rPr lang="en" sz="1050" b="0" i="0" u="none" baseline="0" dirty="0">
                          <a:effectLst/>
                        </a:rPr>
                        <a:t> constr</a:t>
                      </a:r>
                      <a:r>
                        <a:rPr lang="pl-PL" sz="1050" b="0" i="0" u="none" baseline="0" dirty="0">
                          <a:effectLst/>
                        </a:rPr>
                        <a:t>.</a:t>
                      </a:r>
                      <a:r>
                        <a:rPr lang="en" sz="1050" b="0" i="0" u="none" baseline="0" dirty="0">
                          <a:effectLst/>
                        </a:rPr>
                        <a:t>materials</a:t>
                      </a:r>
                      <a:endParaRPr lang="en" sz="1050" i="1" dirty="0">
                        <a:solidFill>
                          <a:srgbClr val="555454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 dirty="0">
                          <a:effectLst/>
                        </a:rPr>
                        <a:t>5,131</a:t>
                      </a:r>
                      <a:endParaRPr lang="en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effectLst/>
                        </a:rPr>
                        <a:t>4,509</a:t>
                      </a:r>
                      <a:endParaRPr lang="en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effectLst/>
                        </a:rPr>
                        <a:t>622</a:t>
                      </a:r>
                      <a:endParaRPr lang="en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effectLst/>
                        </a:rPr>
                        <a:t>13.8%</a:t>
                      </a:r>
                      <a:endParaRPr lang="en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effectLst/>
                        </a:rPr>
                        <a:t>20%</a:t>
                      </a:r>
                      <a:endParaRPr lang="en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effectLst/>
                        </a:rPr>
                        <a:t>19%</a:t>
                      </a:r>
                      <a:endParaRPr lang="en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="" xmlns:a16="http://schemas.microsoft.com/office/drawing/2014/main" val="2107240927"/>
                  </a:ext>
                </a:extLst>
              </a:tr>
              <a:tr h="1722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sz="1050" b="0" i="0" u="none" baseline="0">
                          <a:effectLst/>
                        </a:rPr>
                        <a:t>Metals and ores</a:t>
                      </a:r>
                      <a:endParaRPr lang="en" sz="1050" i="1" dirty="0">
                        <a:solidFill>
                          <a:srgbClr val="555454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effectLst/>
                        </a:rPr>
                        <a:t>2,145</a:t>
                      </a:r>
                      <a:endParaRPr lang="en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effectLst/>
                        </a:rPr>
                        <a:t>1,980</a:t>
                      </a:r>
                      <a:endParaRPr lang="en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effectLst/>
                        </a:rPr>
                        <a:t>165</a:t>
                      </a:r>
                      <a:endParaRPr lang="en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effectLst/>
                        </a:rPr>
                        <a:t>8.3%</a:t>
                      </a:r>
                      <a:endParaRPr lang="en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effectLst/>
                        </a:rPr>
                        <a:t>8%</a:t>
                      </a:r>
                      <a:endParaRPr lang="en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effectLst/>
                        </a:rPr>
                        <a:t>8%</a:t>
                      </a:r>
                      <a:endParaRPr lang="en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="" xmlns:a16="http://schemas.microsoft.com/office/drawing/2014/main" val="4029293309"/>
                  </a:ext>
                </a:extLst>
              </a:tr>
              <a:tr h="1722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sz="1050" b="0" i="0" u="none" baseline="0">
                          <a:effectLst/>
                        </a:rPr>
                        <a:t>Chemicals</a:t>
                      </a:r>
                      <a:endParaRPr lang="en" sz="1050" i="1" dirty="0">
                        <a:solidFill>
                          <a:srgbClr val="555454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effectLst/>
                        </a:rPr>
                        <a:t>2,246</a:t>
                      </a:r>
                      <a:endParaRPr lang="en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effectLst/>
                        </a:rPr>
                        <a:t>1,937</a:t>
                      </a:r>
                      <a:endParaRPr lang="en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effectLst/>
                        </a:rPr>
                        <a:t>309</a:t>
                      </a:r>
                      <a:endParaRPr lang="en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effectLst/>
                        </a:rPr>
                        <a:t>15.9%</a:t>
                      </a:r>
                      <a:endParaRPr lang="en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effectLst/>
                        </a:rPr>
                        <a:t>9%</a:t>
                      </a:r>
                      <a:endParaRPr lang="en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effectLst/>
                        </a:rPr>
                        <a:t>8%</a:t>
                      </a:r>
                      <a:endParaRPr lang="en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="" xmlns:a16="http://schemas.microsoft.com/office/drawing/2014/main" val="3884207218"/>
                  </a:ext>
                </a:extLst>
              </a:tr>
              <a:tr h="1722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sz="1050" b="0" i="0" u="none" baseline="0">
                          <a:effectLst/>
                        </a:rPr>
                        <a:t>Liquid fuels</a:t>
                      </a:r>
                      <a:endParaRPr lang="en" sz="1050" i="1" dirty="0">
                        <a:solidFill>
                          <a:srgbClr val="555454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effectLst/>
                        </a:rPr>
                        <a:t>649</a:t>
                      </a:r>
                      <a:endParaRPr lang="en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effectLst/>
                        </a:rPr>
                        <a:t>681</a:t>
                      </a:r>
                      <a:endParaRPr lang="en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effectLst/>
                        </a:rPr>
                        <a:t>-32</a:t>
                      </a:r>
                      <a:endParaRPr lang="en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effectLst/>
                        </a:rPr>
                        <a:t>-4.7%</a:t>
                      </a:r>
                      <a:endParaRPr lang="en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effectLst/>
                        </a:rPr>
                        <a:t>3%</a:t>
                      </a:r>
                      <a:endParaRPr lang="en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effectLst/>
                        </a:rPr>
                        <a:t>3%</a:t>
                      </a:r>
                      <a:endParaRPr lang="en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="" xmlns:a16="http://schemas.microsoft.com/office/drawing/2014/main" val="3191274453"/>
                  </a:ext>
                </a:extLst>
              </a:tr>
              <a:tr h="1722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sz="1050" b="0" i="0" u="none" baseline="0" dirty="0">
                          <a:effectLst/>
                        </a:rPr>
                        <a:t>Timber </a:t>
                      </a:r>
                      <a:r>
                        <a:rPr lang="pl-PL" sz="1050" b="0" i="0" u="none" baseline="0" dirty="0">
                          <a:effectLst/>
                        </a:rPr>
                        <a:t>&amp; </a:t>
                      </a:r>
                      <a:r>
                        <a:rPr lang="en" sz="1050" b="0" i="0" u="none" baseline="0" dirty="0">
                          <a:effectLst/>
                        </a:rPr>
                        <a:t>agricultural produce</a:t>
                      </a:r>
                      <a:endParaRPr lang="en" sz="1050" i="1" dirty="0">
                        <a:solidFill>
                          <a:srgbClr val="555454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effectLst/>
                        </a:rPr>
                        <a:t>785</a:t>
                      </a:r>
                      <a:endParaRPr lang="en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effectLst/>
                        </a:rPr>
                        <a:t>984</a:t>
                      </a:r>
                      <a:endParaRPr lang="en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effectLst/>
                        </a:rPr>
                        <a:t>-199</a:t>
                      </a:r>
                      <a:endParaRPr lang="en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effectLst/>
                        </a:rPr>
                        <a:t>-20.2%</a:t>
                      </a:r>
                      <a:endParaRPr lang="en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effectLst/>
                        </a:rPr>
                        <a:t>3%</a:t>
                      </a:r>
                      <a:endParaRPr lang="en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effectLst/>
                        </a:rPr>
                        <a:t>4%</a:t>
                      </a:r>
                      <a:endParaRPr lang="en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="" xmlns:a16="http://schemas.microsoft.com/office/drawing/2014/main" val="2625845104"/>
                  </a:ext>
                </a:extLst>
              </a:tr>
              <a:tr h="1722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sz="1050" b="0" i="0" u="none" baseline="0">
                          <a:effectLst/>
                        </a:rPr>
                        <a:t>Intermodal transport</a:t>
                      </a:r>
                      <a:endParaRPr lang="en" sz="1050" i="1" dirty="0">
                        <a:solidFill>
                          <a:srgbClr val="555454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effectLst/>
                        </a:rPr>
                        <a:t>4,544</a:t>
                      </a:r>
                      <a:endParaRPr lang="en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effectLst/>
                        </a:rPr>
                        <a:t>4,290</a:t>
                      </a:r>
                      <a:endParaRPr lang="en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effectLst/>
                        </a:rPr>
                        <a:t>254</a:t>
                      </a:r>
                      <a:endParaRPr lang="en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effectLst/>
                        </a:rPr>
                        <a:t>5.9%</a:t>
                      </a:r>
                      <a:endParaRPr lang="en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effectLst/>
                        </a:rPr>
                        <a:t>18%</a:t>
                      </a:r>
                      <a:endParaRPr lang="en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effectLst/>
                        </a:rPr>
                        <a:t>18%</a:t>
                      </a:r>
                      <a:endParaRPr lang="en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="" xmlns:a16="http://schemas.microsoft.com/office/drawing/2014/main" val="2864595844"/>
                  </a:ext>
                </a:extLst>
              </a:tr>
              <a:tr h="1722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sz="1050" b="0" i="0" u="none" baseline="0">
                          <a:effectLst/>
                        </a:rPr>
                        <a:t>Other</a:t>
                      </a:r>
                      <a:endParaRPr lang="en" sz="1050" i="1" dirty="0">
                        <a:solidFill>
                          <a:srgbClr val="555454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effectLst/>
                        </a:rPr>
                        <a:t>508</a:t>
                      </a:r>
                      <a:endParaRPr lang="en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effectLst/>
                        </a:rPr>
                        <a:t>646</a:t>
                      </a:r>
                      <a:endParaRPr lang="en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effectLst/>
                        </a:rPr>
                        <a:t>-139</a:t>
                      </a:r>
                      <a:endParaRPr lang="en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effectLst/>
                        </a:rPr>
                        <a:t>-21.4%</a:t>
                      </a:r>
                      <a:endParaRPr lang="en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effectLst/>
                        </a:rPr>
                        <a:t>2%</a:t>
                      </a:r>
                      <a:endParaRPr lang="en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effectLst/>
                        </a:rPr>
                        <a:t>3%</a:t>
                      </a:r>
                      <a:endParaRPr lang="en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="" xmlns:a16="http://schemas.microsoft.com/office/drawing/2014/main" val="4086998259"/>
                  </a:ext>
                </a:extLst>
              </a:tr>
              <a:tr h="1722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sz="1050" b="0" i="0" u="none" baseline="0">
                          <a:effectLst/>
                        </a:rPr>
                        <a:t>Total</a:t>
                      </a:r>
                      <a:endParaRPr lang="en" sz="1050" b="1" i="1" dirty="0">
                        <a:solidFill>
                          <a:srgbClr val="555454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effectLst/>
                        </a:rPr>
                        <a:t>25,590</a:t>
                      </a:r>
                      <a:endParaRPr lang="en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effectLst/>
                        </a:rPr>
                        <a:t>23,649</a:t>
                      </a:r>
                      <a:endParaRPr lang="en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effectLst/>
                        </a:rPr>
                        <a:t>1,941</a:t>
                      </a:r>
                      <a:endParaRPr lang="en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effectLst/>
                        </a:rPr>
                        <a:t>8.2%</a:t>
                      </a:r>
                      <a:endParaRPr lang="en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effectLst/>
                        </a:rPr>
                        <a:t>100%</a:t>
                      </a:r>
                      <a:endParaRPr lang="en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 dirty="0">
                          <a:effectLst/>
                        </a:rPr>
                        <a:t>100%</a:t>
                      </a:r>
                      <a:endParaRPr lang="en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="" xmlns:a16="http://schemas.microsoft.com/office/drawing/2014/main" val="3557713941"/>
                  </a:ext>
                </a:extLst>
              </a:tr>
            </a:tbl>
          </a:graphicData>
        </a:graphic>
      </p:graphicFrame>
      <p:sp>
        <p:nvSpPr>
          <p:cNvPr id="9" name="object 9"/>
          <p:cNvSpPr txBox="1"/>
          <p:nvPr/>
        </p:nvSpPr>
        <p:spPr>
          <a:xfrm>
            <a:off x="926074" y="648803"/>
            <a:ext cx="4387013" cy="309059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/>
          <a:p>
            <a:pPr marL="12700" algn="l" rtl="0">
              <a:spcBef>
                <a:spcPts val="130"/>
              </a:spcBef>
            </a:pPr>
            <a:r>
              <a:rPr lang="en" sz="1900" b="0" i="0" u="none" baseline="0">
                <a:solidFill>
                  <a:prstClr val="black"/>
                </a:solidFill>
                <a:latin typeface="Myriad pro"/>
                <a:ea typeface="Myriad pro"/>
                <a:cs typeface="Myriad pro"/>
              </a:rPr>
              <a:t> </a:t>
            </a:r>
            <a:endParaRPr sz="1900" dirty="0">
              <a:solidFill>
                <a:prstClr val="black"/>
              </a:solidFill>
              <a:latin typeface="Myriad pro"/>
              <a:cs typeface="Myriad pro"/>
            </a:endParaRPr>
          </a:p>
        </p:txBody>
      </p:sp>
      <p:graphicFrame>
        <p:nvGraphicFramePr>
          <p:cNvPr id="13" name="Tabela 12">
            <a:extLst>
              <a:ext uri="{FF2B5EF4-FFF2-40B4-BE49-F238E27FC236}">
                <a16:creationId xmlns="" xmlns:a16="http://schemas.microsoft.com/office/drawing/2014/main" id="{06F45DA0-6FD8-6D4B-9E87-C20AD54F20D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029812"/>
              </p:ext>
            </p:extLst>
          </p:nvPr>
        </p:nvGraphicFramePr>
        <p:xfrm>
          <a:off x="403462" y="3886700"/>
          <a:ext cx="9819250" cy="3011603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827250">
                  <a:extLst>
                    <a:ext uri="{9D8B030D-6E8A-4147-A177-3AD203B41FA5}">
                      <a16:colId xmlns="" xmlns:a16="http://schemas.microsoft.com/office/drawing/2014/main" val="2817067321"/>
                    </a:ext>
                  </a:extLst>
                </a:gridCol>
                <a:gridCol w="1332000">
                  <a:extLst>
                    <a:ext uri="{9D8B030D-6E8A-4147-A177-3AD203B41FA5}">
                      <a16:colId xmlns="" xmlns:a16="http://schemas.microsoft.com/office/drawing/2014/main" val="115760123"/>
                    </a:ext>
                  </a:extLst>
                </a:gridCol>
                <a:gridCol w="1332000">
                  <a:extLst>
                    <a:ext uri="{9D8B030D-6E8A-4147-A177-3AD203B41FA5}">
                      <a16:colId xmlns="" xmlns:a16="http://schemas.microsoft.com/office/drawing/2014/main" val="2862519763"/>
                    </a:ext>
                  </a:extLst>
                </a:gridCol>
                <a:gridCol w="1332000">
                  <a:extLst>
                    <a:ext uri="{9D8B030D-6E8A-4147-A177-3AD203B41FA5}">
                      <a16:colId xmlns="" xmlns:a16="http://schemas.microsoft.com/office/drawing/2014/main" val="1532192963"/>
                    </a:ext>
                  </a:extLst>
                </a:gridCol>
                <a:gridCol w="1332000">
                  <a:extLst>
                    <a:ext uri="{9D8B030D-6E8A-4147-A177-3AD203B41FA5}">
                      <a16:colId xmlns="" xmlns:a16="http://schemas.microsoft.com/office/drawing/2014/main" val="1615670971"/>
                    </a:ext>
                  </a:extLst>
                </a:gridCol>
                <a:gridCol w="1332000">
                  <a:extLst>
                    <a:ext uri="{9D8B030D-6E8A-4147-A177-3AD203B41FA5}">
                      <a16:colId xmlns="" xmlns:a16="http://schemas.microsoft.com/office/drawing/2014/main" val="1906580039"/>
                    </a:ext>
                  </a:extLst>
                </a:gridCol>
                <a:gridCol w="1332000">
                  <a:extLst>
                    <a:ext uri="{9D8B030D-6E8A-4147-A177-3AD203B41FA5}">
                      <a16:colId xmlns="" xmlns:a16="http://schemas.microsoft.com/office/drawing/2014/main" val="592751642"/>
                    </a:ext>
                  </a:extLst>
                </a:gridCol>
              </a:tblGrid>
              <a:tr h="3935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sz="1200" b="1" i="0" u="none" baseline="0">
                          <a:effectLst/>
                        </a:rPr>
                        <a:t>FREIGHT VOLUME </a:t>
                      </a:r>
                      <a:r>
                        <a:rPr lang="en" sz="1200">
                          <a:effectLst/>
                        </a:rPr>
                        <a:t/>
                      </a:r>
                      <a:br>
                        <a:rPr lang="en" sz="1200">
                          <a:effectLst/>
                        </a:rPr>
                      </a:br>
                      <a:r>
                        <a:rPr lang="en" sz="1200" b="1" i="0" u="none" baseline="0">
                          <a:effectLst/>
                        </a:rPr>
                        <a:t>[million tons]</a:t>
                      </a:r>
                      <a:endParaRPr lang="en" sz="1200" b="1" i="1" dirty="0">
                        <a:solidFill>
                          <a:srgbClr val="555454"/>
                        </a:solidFill>
                        <a:effectLst/>
                        <a:latin typeface="Myriad Pro" panose="020B0503030403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sz="1200" b="1" i="0" u="none" baseline="0">
                          <a:effectLst/>
                        </a:rPr>
                        <a:t>2021</a:t>
                      </a:r>
                      <a:endParaRPr lang="en" sz="1200" b="1" i="1" dirty="0">
                        <a:solidFill>
                          <a:srgbClr val="555555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sz="1200" b="1" i="0" u="none" baseline="0">
                          <a:effectLst/>
                        </a:rPr>
                        <a:t>2020</a:t>
                      </a:r>
                      <a:endParaRPr lang="en" sz="1200" b="1" i="1" dirty="0">
                        <a:solidFill>
                          <a:srgbClr val="555555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sz="1200" b="1" i="0" u="none" baseline="0">
                          <a:effectLst/>
                        </a:rPr>
                        <a:t>Change</a:t>
                      </a:r>
                      <a:endParaRPr lang="en" sz="1200" b="1" i="1" dirty="0">
                        <a:solidFill>
                          <a:srgbClr val="555555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sz="1200" b="1" i="0" u="none" baseline="0" dirty="0">
                          <a:effectLst/>
                        </a:rPr>
                        <a:t>% </a:t>
                      </a:r>
                      <a:r>
                        <a:rPr lang="pl-PL" sz="1200" b="1" i="0" u="none" baseline="0" dirty="0">
                          <a:effectLst/>
                        </a:rPr>
                        <a:t>C</a:t>
                      </a:r>
                      <a:r>
                        <a:rPr lang="en" sz="1200" b="1" i="0" u="none" baseline="0" dirty="0">
                          <a:effectLst/>
                        </a:rPr>
                        <a:t>hange</a:t>
                      </a:r>
                      <a:endParaRPr lang="en" sz="1200" b="1" i="1" dirty="0">
                        <a:solidFill>
                          <a:srgbClr val="555555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sz="1200" b="1" i="0" u="none" baseline="0">
                          <a:effectLst/>
                        </a:rPr>
                        <a:t>Share in 2021</a:t>
                      </a:r>
                      <a:endParaRPr lang="en" sz="1200" b="1" i="1" dirty="0">
                        <a:solidFill>
                          <a:srgbClr val="555555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sz="1200" b="1" i="0" u="none" baseline="0">
                          <a:effectLst/>
                        </a:rPr>
                        <a:t>Share in 2020</a:t>
                      </a:r>
                      <a:endParaRPr lang="en" sz="1200" b="1" i="1" dirty="0">
                        <a:solidFill>
                          <a:srgbClr val="555555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790322282"/>
                  </a:ext>
                </a:extLst>
              </a:tr>
              <a:tr h="29126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sz="1050" b="0" i="0" u="none" baseline="0">
                          <a:effectLst/>
                        </a:rPr>
                        <a:t>Solid fuels, including:</a:t>
                      </a:r>
                      <a:endParaRPr lang="en" sz="1050" i="1" dirty="0">
                        <a:solidFill>
                          <a:srgbClr val="555454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 dirty="0">
                          <a:effectLst/>
                        </a:rPr>
                        <a:t>52.1</a:t>
                      </a:r>
                      <a:endParaRPr lang="en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effectLst/>
                        </a:rPr>
                        <a:t>47.3</a:t>
                      </a:r>
                      <a:endParaRPr lang="en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effectLst/>
                        </a:rPr>
                        <a:t>4.8</a:t>
                      </a:r>
                      <a:endParaRPr lang="en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effectLst/>
                        </a:rPr>
                        <a:t>10.1%</a:t>
                      </a:r>
                      <a:endParaRPr lang="en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effectLst/>
                        </a:rPr>
                        <a:t>51%</a:t>
                      </a:r>
                      <a:endParaRPr lang="en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effectLst/>
                        </a:rPr>
                        <a:t>51%</a:t>
                      </a:r>
                      <a:endParaRPr lang="en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="" xmlns:a16="http://schemas.microsoft.com/office/drawing/2014/main" val="3684107346"/>
                  </a:ext>
                </a:extLst>
              </a:tr>
              <a:tr h="211910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sz="1050" b="0" i="0" u="none" baseline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</a:rPr>
                        <a:t>hard coal</a:t>
                      </a:r>
                      <a:endParaRPr lang="en" sz="1050" i="1" noProof="0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</a:rPr>
                        <a:t>46.2</a:t>
                      </a:r>
                      <a:endParaRPr lang="en" sz="1050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</a:rPr>
                        <a:t>42.5</a:t>
                      </a:r>
                      <a:endParaRPr lang="en" sz="1050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</a:rPr>
                        <a:t>3.7</a:t>
                      </a:r>
                      <a:endParaRPr lang="en" sz="1050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</a:rPr>
                        <a:t>8.7%</a:t>
                      </a:r>
                      <a:endParaRPr lang="en" sz="1050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</a:rPr>
                        <a:t>46%</a:t>
                      </a:r>
                      <a:endParaRPr lang="en" sz="1050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</a:rPr>
                        <a:t>45%</a:t>
                      </a:r>
                      <a:endParaRPr lang="en" sz="1050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="" xmlns:a16="http://schemas.microsoft.com/office/drawing/2014/main" val="3704092277"/>
                  </a:ext>
                </a:extLst>
              </a:tr>
              <a:tr h="21191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sz="1050" b="0" i="0" u="none" baseline="0" dirty="0">
                          <a:effectLst/>
                        </a:rPr>
                        <a:t>Aggregates </a:t>
                      </a:r>
                      <a:r>
                        <a:rPr lang="pl-PL" sz="1050" b="0" i="0" u="none" baseline="0" dirty="0">
                          <a:effectLst/>
                        </a:rPr>
                        <a:t>&amp;</a:t>
                      </a:r>
                      <a:r>
                        <a:rPr lang="en" sz="1050" b="0" i="0" u="none" baseline="0" dirty="0">
                          <a:effectLst/>
                        </a:rPr>
                        <a:t> constr</a:t>
                      </a:r>
                      <a:r>
                        <a:rPr lang="pl-PL" sz="1050" b="0" i="0" u="none" baseline="0" dirty="0">
                          <a:effectLst/>
                        </a:rPr>
                        <a:t>.</a:t>
                      </a:r>
                      <a:r>
                        <a:rPr lang="en" sz="1050" b="0" i="0" u="none" baseline="0" dirty="0">
                          <a:effectLst/>
                        </a:rPr>
                        <a:t>materials</a:t>
                      </a:r>
                      <a:endParaRPr lang="en" sz="1050" i="1" dirty="0">
                        <a:solidFill>
                          <a:srgbClr val="555454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effectLst/>
                        </a:rPr>
                        <a:t>19.8</a:t>
                      </a:r>
                      <a:endParaRPr lang="en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effectLst/>
                        </a:rPr>
                        <a:t>17.9</a:t>
                      </a:r>
                      <a:endParaRPr lang="en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effectLst/>
                        </a:rPr>
                        <a:t>1.9</a:t>
                      </a:r>
                      <a:endParaRPr lang="en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effectLst/>
                        </a:rPr>
                        <a:t>10.8%</a:t>
                      </a:r>
                      <a:endParaRPr lang="en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effectLst/>
                        </a:rPr>
                        <a:t>20%</a:t>
                      </a:r>
                      <a:endParaRPr lang="en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effectLst/>
                        </a:rPr>
                        <a:t>19%</a:t>
                      </a:r>
                      <a:endParaRPr lang="en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="" xmlns:a16="http://schemas.microsoft.com/office/drawing/2014/main" val="2107240927"/>
                  </a:ext>
                </a:extLst>
              </a:tr>
              <a:tr h="21191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sz="1050" b="0" i="0" u="none" baseline="0">
                          <a:effectLst/>
                        </a:rPr>
                        <a:t>Metals and ores</a:t>
                      </a:r>
                      <a:endParaRPr lang="en" sz="1050" i="1" dirty="0">
                        <a:solidFill>
                          <a:srgbClr val="555454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effectLst/>
                        </a:rPr>
                        <a:t>7.1</a:t>
                      </a:r>
                      <a:endParaRPr lang="en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effectLst/>
                        </a:rPr>
                        <a:t>6.2</a:t>
                      </a:r>
                      <a:endParaRPr lang="en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effectLst/>
                        </a:rPr>
                        <a:t>0.9</a:t>
                      </a:r>
                      <a:endParaRPr lang="en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effectLst/>
                        </a:rPr>
                        <a:t>14.8%</a:t>
                      </a:r>
                      <a:endParaRPr lang="en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effectLst/>
                        </a:rPr>
                        <a:t>7%</a:t>
                      </a:r>
                      <a:endParaRPr lang="en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effectLst/>
                        </a:rPr>
                        <a:t>7%</a:t>
                      </a:r>
                      <a:endParaRPr lang="en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="" xmlns:a16="http://schemas.microsoft.com/office/drawing/2014/main" val="4029293309"/>
                  </a:ext>
                </a:extLst>
              </a:tr>
              <a:tr h="21191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sz="1050" b="0" i="0" u="none" baseline="0">
                          <a:effectLst/>
                        </a:rPr>
                        <a:t>Chemicals</a:t>
                      </a:r>
                      <a:endParaRPr lang="en" sz="1050" i="1" dirty="0">
                        <a:solidFill>
                          <a:srgbClr val="555454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effectLst/>
                        </a:rPr>
                        <a:t>6.5</a:t>
                      </a:r>
                      <a:endParaRPr lang="en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effectLst/>
                        </a:rPr>
                        <a:t>5.8</a:t>
                      </a:r>
                      <a:endParaRPr lang="en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effectLst/>
                        </a:rPr>
                        <a:t>0.7</a:t>
                      </a:r>
                      <a:endParaRPr lang="en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effectLst/>
                        </a:rPr>
                        <a:t>12.4%</a:t>
                      </a:r>
                      <a:endParaRPr lang="en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effectLst/>
                        </a:rPr>
                        <a:t>6%</a:t>
                      </a:r>
                      <a:endParaRPr lang="en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effectLst/>
                        </a:rPr>
                        <a:t>6%</a:t>
                      </a:r>
                      <a:endParaRPr lang="en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="" xmlns:a16="http://schemas.microsoft.com/office/drawing/2014/main" val="3884207218"/>
                  </a:ext>
                </a:extLst>
              </a:tr>
              <a:tr h="21191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sz="1050" b="0" i="0" u="none" baseline="0">
                          <a:effectLst/>
                        </a:rPr>
                        <a:t>Liquid fuels</a:t>
                      </a:r>
                      <a:endParaRPr lang="en" sz="1050" i="1" dirty="0">
                        <a:solidFill>
                          <a:srgbClr val="555454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effectLst/>
                        </a:rPr>
                        <a:t>1.9</a:t>
                      </a:r>
                      <a:endParaRPr lang="en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effectLst/>
                        </a:rPr>
                        <a:t>2.0</a:t>
                      </a:r>
                      <a:endParaRPr lang="en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effectLst/>
                        </a:rPr>
                        <a:t>-0.1</a:t>
                      </a:r>
                      <a:endParaRPr lang="en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effectLst/>
                        </a:rPr>
                        <a:t>-6.0%</a:t>
                      </a:r>
                      <a:endParaRPr lang="en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effectLst/>
                        </a:rPr>
                        <a:t>2%</a:t>
                      </a:r>
                      <a:endParaRPr lang="en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effectLst/>
                        </a:rPr>
                        <a:t>2%</a:t>
                      </a:r>
                      <a:endParaRPr lang="en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="" xmlns:a16="http://schemas.microsoft.com/office/drawing/2014/main" val="3191274453"/>
                  </a:ext>
                </a:extLst>
              </a:tr>
              <a:tr h="21191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sz="1050" b="0" i="0" u="none" baseline="0" dirty="0">
                          <a:effectLst/>
                        </a:rPr>
                        <a:t>Timber </a:t>
                      </a:r>
                      <a:r>
                        <a:rPr lang="pl-PL" sz="1050" b="0" i="0" u="none" baseline="0" dirty="0">
                          <a:effectLst/>
                        </a:rPr>
                        <a:t>&amp;</a:t>
                      </a:r>
                      <a:r>
                        <a:rPr lang="en" sz="1050" b="0" i="0" u="none" baseline="0" dirty="0">
                          <a:effectLst/>
                        </a:rPr>
                        <a:t> agricultural produce</a:t>
                      </a:r>
                      <a:endParaRPr lang="en" sz="1050" i="1" dirty="0">
                        <a:solidFill>
                          <a:srgbClr val="555454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effectLst/>
                        </a:rPr>
                        <a:t>2.4</a:t>
                      </a:r>
                      <a:endParaRPr lang="en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effectLst/>
                        </a:rPr>
                        <a:t>2.8</a:t>
                      </a:r>
                      <a:endParaRPr lang="en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effectLst/>
                        </a:rPr>
                        <a:t>-0.4</a:t>
                      </a:r>
                      <a:endParaRPr lang="en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effectLst/>
                        </a:rPr>
                        <a:t>-13.5%</a:t>
                      </a:r>
                      <a:endParaRPr lang="en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effectLst/>
                        </a:rPr>
                        <a:t>2%</a:t>
                      </a:r>
                      <a:endParaRPr lang="en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effectLst/>
                        </a:rPr>
                        <a:t>3%</a:t>
                      </a:r>
                      <a:endParaRPr lang="en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="" xmlns:a16="http://schemas.microsoft.com/office/drawing/2014/main" val="2625845104"/>
                  </a:ext>
                </a:extLst>
              </a:tr>
              <a:tr h="21191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sz="1050" b="0" i="0" u="none" baseline="0">
                          <a:effectLst/>
                        </a:rPr>
                        <a:t>Intermodal transport</a:t>
                      </a:r>
                      <a:endParaRPr lang="en" sz="1050" i="1" dirty="0">
                        <a:solidFill>
                          <a:srgbClr val="555454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effectLst/>
                        </a:rPr>
                        <a:t>10.0</a:t>
                      </a:r>
                      <a:endParaRPr lang="en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effectLst/>
                        </a:rPr>
                        <a:t>9.7</a:t>
                      </a:r>
                      <a:endParaRPr lang="en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effectLst/>
                        </a:rPr>
                        <a:t>0.3</a:t>
                      </a:r>
                      <a:endParaRPr lang="en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effectLst/>
                        </a:rPr>
                        <a:t>2.7%</a:t>
                      </a:r>
                      <a:endParaRPr lang="en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effectLst/>
                        </a:rPr>
                        <a:t>10%</a:t>
                      </a:r>
                      <a:endParaRPr lang="en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effectLst/>
                        </a:rPr>
                        <a:t>10%</a:t>
                      </a:r>
                      <a:endParaRPr lang="en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="" xmlns:a16="http://schemas.microsoft.com/office/drawing/2014/main" val="2864595844"/>
                  </a:ext>
                </a:extLst>
              </a:tr>
              <a:tr h="21191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sz="1050" b="0" i="0" u="none" baseline="0">
                          <a:effectLst/>
                        </a:rPr>
                        <a:t>Other</a:t>
                      </a:r>
                      <a:endParaRPr lang="en" sz="1050" i="1" dirty="0">
                        <a:solidFill>
                          <a:srgbClr val="555454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effectLst/>
                        </a:rPr>
                        <a:t>1.8</a:t>
                      </a:r>
                      <a:endParaRPr lang="en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effectLst/>
                        </a:rPr>
                        <a:t>2.0</a:t>
                      </a:r>
                      <a:endParaRPr lang="en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effectLst/>
                        </a:rPr>
                        <a:t>-0.1</a:t>
                      </a:r>
                      <a:endParaRPr lang="en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effectLst/>
                        </a:rPr>
                        <a:t>-5.9%</a:t>
                      </a:r>
                      <a:endParaRPr lang="en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effectLst/>
                        </a:rPr>
                        <a:t>2%</a:t>
                      </a:r>
                      <a:endParaRPr lang="en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effectLst/>
                        </a:rPr>
                        <a:t>2%</a:t>
                      </a:r>
                      <a:endParaRPr lang="en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="" xmlns:a16="http://schemas.microsoft.com/office/drawing/2014/main" val="4086998259"/>
                  </a:ext>
                </a:extLst>
              </a:tr>
              <a:tr h="21191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sz="1050" b="0" i="0" u="none" baseline="0" dirty="0">
                          <a:effectLst/>
                        </a:rPr>
                        <a:t>Total</a:t>
                      </a:r>
                      <a:endParaRPr lang="en" sz="1050" b="1" i="1" dirty="0">
                        <a:solidFill>
                          <a:srgbClr val="555454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effectLst/>
                        </a:rPr>
                        <a:t>101.6</a:t>
                      </a:r>
                      <a:endParaRPr lang="en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effectLst/>
                        </a:rPr>
                        <a:t>93.6</a:t>
                      </a:r>
                      <a:endParaRPr lang="en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effectLst/>
                        </a:rPr>
                        <a:t>8.0</a:t>
                      </a:r>
                      <a:endParaRPr lang="en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effectLst/>
                        </a:rPr>
                        <a:t>8.6%</a:t>
                      </a:r>
                      <a:endParaRPr lang="en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>
                          <a:effectLst/>
                        </a:rPr>
                        <a:t>100%</a:t>
                      </a:r>
                      <a:endParaRPr lang="en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50" b="0" i="0" u="none" baseline="0" dirty="0">
                          <a:effectLst/>
                        </a:rPr>
                        <a:t>100%</a:t>
                      </a:r>
                      <a:endParaRPr lang="en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="" xmlns:a16="http://schemas.microsoft.com/office/drawing/2014/main" val="3557713941"/>
                  </a:ext>
                </a:extLst>
              </a:tr>
            </a:tbl>
          </a:graphicData>
        </a:graphic>
      </p:graphicFrame>
      <p:pic>
        <p:nvPicPr>
          <p:cNvPr id="19" name="Obraz 76" descr="strzalka-2.png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6958" y="6829425"/>
            <a:ext cx="253916" cy="351576"/>
          </a:xfrm>
          <a:prstGeom prst="rect">
            <a:avLst/>
          </a:prstGeom>
        </p:spPr>
      </p:pic>
      <p:sp>
        <p:nvSpPr>
          <p:cNvPr id="4" name="Symbol zastępczy numeru slajdu 3"/>
          <p:cNvSpPr>
            <a:spLocks noGrp="1"/>
          </p:cNvSpPr>
          <p:nvPr>
            <p:ph type="sldNum" sz="quarter" idx="7"/>
          </p:nvPr>
        </p:nvSpPr>
        <p:spPr>
          <a:xfrm>
            <a:off x="237916" y="6944463"/>
            <a:ext cx="417195" cy="473075"/>
          </a:xfrm>
        </p:spPr>
        <p:txBody>
          <a:bodyPr vert="horz" lIns="91440" tIns="45720" rIns="91440" bIns="45720" rtlCol="0" anchor="ctr"/>
          <a:lstStyle/>
          <a:p>
            <a:pPr algn="r" rtl="0"/>
            <a:fld id="{81D60167-4931-47E6-BA6A-407CBD079E47}" type="slidenum">
              <a:rPr sz="1400">
                <a:solidFill>
                  <a:schemeClr val="tx1">
                    <a:tint val="75000"/>
                  </a:schemeClr>
                </a:solidFill>
                <a:latin typeface="Myriad Pro" panose="020B0503030403020204" pitchFamily="34" charset="0"/>
                <a:cs typeface="+mn-cs"/>
              </a:rPr>
              <a:pPr algn="r" rtl="0"/>
              <a:t>13</a:t>
            </a:fld>
            <a:endParaRPr lang="en" sz="1400" dirty="0">
              <a:solidFill>
                <a:schemeClr val="tx1">
                  <a:tint val="75000"/>
                </a:schemeClr>
              </a:solidFill>
              <a:latin typeface="Myriad Pro" panose="020B0503030403020204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3879324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i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17578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34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rostokąt 8"/>
          <p:cNvSpPr/>
          <p:nvPr/>
        </p:nvSpPr>
        <p:spPr>
          <a:xfrm>
            <a:off x="606490" y="162635"/>
            <a:ext cx="943713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rtl="0">
              <a:spcBef>
                <a:spcPts val="300"/>
              </a:spcBef>
              <a:spcAft>
                <a:spcPts val="300"/>
              </a:spcAft>
            </a:pPr>
            <a:r>
              <a:rPr lang="en" b="1" i="0" u="none" kern="0" baseline="0">
                <a:solidFill>
                  <a:srgbClr val="015BAA"/>
                </a:solidFill>
                <a:latin typeface="Calibri" panose="020F0502020204030204" pitchFamily="34" charset="0"/>
                <a:ea typeface="Yu Gothic Light" panose="020B0300000000000000" pitchFamily="34" charset="-128"/>
                <a:cs typeface="Times New Roman" panose="02020603050405020304" pitchFamily="18" charset="0"/>
              </a:rPr>
              <a:t>CONSOLIDATED STATEMENT OF PROFIT OR LOSS AND OTHER COMPREHENSIVE INCOME</a:t>
            </a:r>
            <a:endParaRPr lang="en" b="1" kern="0" dirty="0">
              <a:solidFill>
                <a:srgbClr val="015BAA"/>
              </a:solidFill>
              <a:effectLst/>
              <a:latin typeface="Calibri" panose="020F0502020204030204" pitchFamily="34" charset="0"/>
              <a:ea typeface="Yu Gothic Light" panose="020B0300000000000000" pitchFamily="34" charset="-128"/>
              <a:cs typeface="Times New Roman" panose="02020603050405020304" pitchFamily="18" charset="0"/>
            </a:endParaRPr>
          </a:p>
        </p:txBody>
      </p:sp>
      <p:graphicFrame>
        <p:nvGraphicFramePr>
          <p:cNvPr id="8" name="Tabel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09483627"/>
              </p:ext>
            </p:extLst>
          </p:nvPr>
        </p:nvGraphicFramePr>
        <p:xfrm>
          <a:off x="606490" y="531967"/>
          <a:ext cx="9271157" cy="6269220"/>
        </p:xfrm>
        <a:graphic>
          <a:graphicData uri="http://schemas.openxmlformats.org/drawingml/2006/table">
            <a:tbl>
              <a:tblPr firstRow="1" firstCol="1" bandRow="1">
                <a:tableStyleId>{69012ECD-51FC-41F1-AA8D-1B2483CD663E}</a:tableStyleId>
              </a:tblPr>
              <a:tblGrid>
                <a:gridCol w="568324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793957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793957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178040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 </a:t>
                      </a:r>
                      <a:endParaRPr lang="en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22" marR="38822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1" i="0" u="none" baseline="0">
                          <a:effectLst/>
                        </a:rPr>
                        <a:t>2021</a:t>
                      </a:r>
                      <a:endParaRPr lang="en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22" marR="38822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1" i="0" u="none" baseline="0">
                          <a:effectLst/>
                        </a:rPr>
                        <a:t>2020</a:t>
                      </a:r>
                      <a:endParaRPr lang="en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22" marR="38822" marT="0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78040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1" i="0" u="none" baseline="0">
                          <a:effectLst/>
                        </a:rPr>
                        <a:t>Revenues from contracts with customers</a:t>
                      </a:r>
                      <a:endParaRPr lang="en" sz="12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22" marR="38822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1" i="0" u="none" baseline="0">
                          <a:effectLst/>
                        </a:rPr>
                        <a:t>4,266.5</a:t>
                      </a:r>
                      <a:endParaRPr lang="en" sz="12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22" marR="38822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1" i="0" u="none" baseline="0">
                          <a:effectLst/>
                        </a:rPr>
                        <a:t>4,075.6</a:t>
                      </a:r>
                      <a:endParaRPr lang="en" sz="12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22" marR="38822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95705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1" i="1" u="none" baseline="0">
                          <a:effectLst/>
                        </a:rPr>
                        <a:t>Operating expenses</a:t>
                      </a:r>
                      <a:endParaRPr lang="en" sz="1200" b="0" i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22" marR="38822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 </a:t>
                      </a:r>
                      <a:endParaRPr lang="en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22" marR="38822" marT="0" marB="0" anchor="ctr"/>
                </a:tc>
                <a:tc>
                  <a:txBody>
                    <a:bodyPr/>
                    <a:lstStyle/>
                    <a:p>
                      <a:endParaRPr lang="en" sz="12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822" marR="38822" marT="0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78040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Consumption of electricity and traction fuel</a:t>
                      </a: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22" marR="38822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(550.2)</a:t>
                      </a:r>
                      <a:endParaRPr lang="en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22" marR="38822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(492.7)</a:t>
                      </a:r>
                      <a:endParaRPr lang="en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22" marR="38822" marT="0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78040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Infrastructure access services</a:t>
                      </a: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22" marR="38822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(530.0)</a:t>
                      </a:r>
                      <a:endParaRPr lang="en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22" marR="38822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(517.3)</a:t>
                      </a:r>
                      <a:endParaRPr lang="en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22" marR="38822" marT="0" marB="0"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178040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Transport services</a:t>
                      </a: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22" marR="38822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(350.7)</a:t>
                      </a:r>
                      <a:endParaRPr lang="en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22" marR="38822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(340.5)</a:t>
                      </a:r>
                      <a:endParaRPr lang="en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22" marR="38822" marT="0" marB="0" anchor="ctr"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178040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Other services</a:t>
                      </a: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22" marR="38822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(413.9)</a:t>
                      </a:r>
                      <a:endParaRPr lang="en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22" marR="38822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(365.8)</a:t>
                      </a:r>
                      <a:endParaRPr lang="en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22" marR="38822" marT="0" marB="0" anchor="ctr"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178040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Employee benefits</a:t>
                      </a: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22" marR="38822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(1,622.0)</a:t>
                      </a:r>
                      <a:endParaRPr lang="en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22" marR="38822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(1,638.1)</a:t>
                      </a:r>
                      <a:endParaRPr lang="en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22" marR="38822" marT="0" marB="0" anchor="ctr"/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178040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Other expenses </a:t>
                      </a: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22" marR="38822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(309.1)</a:t>
                      </a:r>
                      <a:endParaRPr lang="en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22" marR="38822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(264.6)</a:t>
                      </a:r>
                      <a:endParaRPr lang="en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22" marR="38822" marT="0" marB="0" anchor="ctr"/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195705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 </a:t>
                      </a: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22" marR="38822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 </a:t>
                      </a:r>
                      <a:endParaRPr lang="en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22" marR="38822" marT="0" marB="0" anchor="ctr"/>
                </a:tc>
                <a:tc>
                  <a:txBody>
                    <a:bodyPr/>
                    <a:lstStyle/>
                    <a:p>
                      <a:endParaRPr lang="en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822" marR="38822" marT="0" marB="0" anchor="ctr"/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178040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Other operating revenue (and expenses)</a:t>
                      </a: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22" marR="38822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22.6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22" marR="38822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123.6</a:t>
                      </a: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22" marR="38822" marT="0" marB="0" anchor="ctr"/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178040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1" i="0" u="none" baseline="0">
                          <a:effectLst/>
                        </a:rPr>
                        <a:t>Operating profit before depreciation and amortization (EBITDA)</a:t>
                      </a: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22" marR="38822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513.2</a:t>
                      </a:r>
                      <a:endParaRPr lang="en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22" marR="38822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580.2</a:t>
                      </a:r>
                      <a:endParaRPr lang="en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22" marR="38822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178040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Depreciation, amortization and impairment allowances</a:t>
                      </a: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22" marR="38822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(722.0)</a:t>
                      </a: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22" marR="38822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(766.6)</a:t>
                      </a: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22" marR="38822" marT="0" marB="0" anchor="ctr"/>
                </a:tc>
                <a:extLst>
                  <a:ext uri="{0D108BD9-81ED-4DB2-BD59-A6C34878D82A}">
                    <a16:rowId xmlns="" xmlns:a16="http://schemas.microsoft.com/office/drawing/2014/main" val="10012"/>
                  </a:ext>
                </a:extLst>
              </a:tr>
              <a:tr h="178040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1" i="0" u="none" baseline="0">
                          <a:effectLst/>
                        </a:rPr>
                        <a:t>Profit / (loss) on operating activities (EBIT)</a:t>
                      </a:r>
                      <a:endParaRPr lang="en" sz="12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22" marR="38822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1" i="0" u="none" baseline="0">
                          <a:effectLst/>
                        </a:rPr>
                        <a:t>(208.8)</a:t>
                      </a:r>
                      <a:endParaRPr lang="en" sz="12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22" marR="38822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1" i="0" u="none" baseline="0">
                          <a:effectLst/>
                        </a:rPr>
                        <a:t>(186.4)</a:t>
                      </a:r>
                      <a:endParaRPr lang="en" sz="12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22" marR="38822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3"/>
                  </a:ext>
                </a:extLst>
              </a:tr>
              <a:tr h="178040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Financial revenue (and expenses)</a:t>
                      </a: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22" marR="38822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(60.3)</a:t>
                      </a: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22" marR="38822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(82.2)</a:t>
                      </a: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22" marR="38822" marT="0" marB="0" anchor="ctr"/>
                </a:tc>
                <a:extLst>
                  <a:ext uri="{0D108BD9-81ED-4DB2-BD59-A6C34878D82A}">
                    <a16:rowId xmlns="" xmlns:a16="http://schemas.microsoft.com/office/drawing/2014/main" val="10014"/>
                  </a:ext>
                </a:extLst>
              </a:tr>
              <a:tr h="356080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Share in the profit / (loss) of entities accounted for under the equity method</a:t>
                      </a:r>
                      <a:r>
                        <a:rPr lang="en" sz="1200" b="0">
                          <a:effectLst/>
                        </a:rPr>
                        <a:t/>
                      </a:r>
                      <a:br>
                        <a:rPr lang="en" sz="1200" b="0">
                          <a:effectLst/>
                        </a:rPr>
                      </a:b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22" marR="38822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4.7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22" marR="38822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1.7</a:t>
                      </a: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22" marR="38822" marT="0" marB="0" anchor="ctr"/>
                </a:tc>
                <a:extLst>
                  <a:ext uri="{0D108BD9-81ED-4DB2-BD59-A6C34878D82A}">
                    <a16:rowId xmlns="" xmlns:a16="http://schemas.microsoft.com/office/drawing/2014/main" val="10015"/>
                  </a:ext>
                </a:extLst>
              </a:tr>
              <a:tr h="178040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1" i="0" u="none" baseline="0">
                          <a:effectLst/>
                        </a:rPr>
                        <a:t>Profit / (loss) before tax</a:t>
                      </a:r>
                      <a:endParaRPr lang="en" sz="12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22" marR="38822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1" i="0" u="none" baseline="0">
                          <a:effectLst/>
                        </a:rPr>
                        <a:t>(264.4)</a:t>
                      </a:r>
                      <a:endParaRPr lang="en" sz="12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22" marR="38822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1" i="0" u="none" baseline="0">
                          <a:effectLst/>
                        </a:rPr>
                        <a:t>(266.9)</a:t>
                      </a:r>
                      <a:endParaRPr lang="en" sz="12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22" marR="38822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6"/>
                  </a:ext>
                </a:extLst>
              </a:tr>
              <a:tr h="178040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Income tax</a:t>
                      </a: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22" marR="38822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39.1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22" marR="38822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42.6</a:t>
                      </a: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22" marR="38822" marT="0" marB="0" anchor="ctr"/>
                </a:tc>
                <a:extLst>
                  <a:ext uri="{0D108BD9-81ED-4DB2-BD59-A6C34878D82A}">
                    <a16:rowId xmlns="" xmlns:a16="http://schemas.microsoft.com/office/drawing/2014/main" val="10017"/>
                  </a:ext>
                </a:extLst>
              </a:tr>
              <a:tr h="178040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1" i="0" u="none" baseline="0">
                          <a:effectLst/>
                        </a:rPr>
                        <a:t>NET PROFIT / (LOSS)</a:t>
                      </a:r>
                      <a:endParaRPr lang="en" sz="12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22" marR="38822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1" i="0" u="none" baseline="0">
                          <a:effectLst/>
                        </a:rPr>
                        <a:t>(225.3)</a:t>
                      </a:r>
                      <a:endParaRPr lang="en" sz="12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22" marR="38822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1" i="0" u="none" baseline="0">
                          <a:effectLst/>
                        </a:rPr>
                        <a:t>(224.3)</a:t>
                      </a:r>
                      <a:endParaRPr lang="en" sz="12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22" marR="38822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8"/>
                  </a:ext>
                </a:extLst>
              </a:tr>
              <a:tr h="195705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 </a:t>
                      </a: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22" marR="38822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 </a:t>
                      </a:r>
                      <a:endParaRPr lang="en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22" marR="38822" marT="0" marB="0" anchor="ctr"/>
                </a:tc>
                <a:tc>
                  <a:txBody>
                    <a:bodyPr/>
                    <a:lstStyle/>
                    <a:p>
                      <a:endParaRPr lang="en" sz="12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822" marR="38822" marT="0" marB="0" anchor="ctr"/>
                </a:tc>
                <a:extLst>
                  <a:ext uri="{0D108BD9-81ED-4DB2-BD59-A6C34878D82A}">
                    <a16:rowId xmlns="" xmlns:a16="http://schemas.microsoft.com/office/drawing/2014/main" val="10019"/>
                  </a:ext>
                </a:extLst>
              </a:tr>
              <a:tr h="195705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1" i="0" u="none" baseline="0">
                          <a:effectLst/>
                        </a:rPr>
                        <a:t>OTHER COMPREHENSIVE INCOME </a:t>
                      </a: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22" marR="38822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 </a:t>
                      </a:r>
                      <a:endParaRPr lang="en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22" marR="38822" marT="0" marB="0" anchor="ctr"/>
                </a:tc>
                <a:tc>
                  <a:txBody>
                    <a:bodyPr/>
                    <a:lstStyle/>
                    <a:p>
                      <a:endParaRPr lang="en" sz="12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822" marR="38822" marT="0" marB="0" anchor="ctr"/>
                </a:tc>
                <a:extLst>
                  <a:ext uri="{0D108BD9-81ED-4DB2-BD59-A6C34878D82A}">
                    <a16:rowId xmlns="" xmlns:a16="http://schemas.microsoft.com/office/drawing/2014/main" val="10020"/>
                  </a:ext>
                </a:extLst>
              </a:tr>
              <a:tr h="178040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Measurement of hedging instruments</a:t>
                      </a: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22" marR="38822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13.2</a:t>
                      </a: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22" marR="38822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(50.8)</a:t>
                      </a: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22" marR="38822" marT="0" marB="0" anchor="ctr"/>
                </a:tc>
                <a:extLst>
                  <a:ext uri="{0D108BD9-81ED-4DB2-BD59-A6C34878D82A}">
                    <a16:rowId xmlns="" xmlns:a16="http://schemas.microsoft.com/office/drawing/2014/main" val="10021"/>
                  </a:ext>
                </a:extLst>
              </a:tr>
              <a:tr h="178040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Income tax </a:t>
                      </a: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22" marR="38822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(2.5)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22" marR="38822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9.7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22" marR="38822" marT="0" marB="0" anchor="ctr"/>
                </a:tc>
                <a:extLst>
                  <a:ext uri="{0D108BD9-81ED-4DB2-BD59-A6C34878D82A}">
                    <a16:rowId xmlns="" xmlns:a16="http://schemas.microsoft.com/office/drawing/2014/main" val="10022"/>
                  </a:ext>
                </a:extLst>
              </a:tr>
              <a:tr h="178040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 dirty="0">
                          <a:effectLst/>
                        </a:rPr>
                        <a:t>Exchange differences from conversion of financial statements of foreign operations</a:t>
                      </a: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22" marR="38822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37.7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22" marR="38822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27.3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22" marR="38822" marT="0" marB="0" anchor="ctr"/>
                </a:tc>
                <a:extLst>
                  <a:ext uri="{0D108BD9-81ED-4DB2-BD59-A6C34878D82A}">
                    <a16:rowId xmlns="" xmlns:a16="http://schemas.microsoft.com/office/drawing/2014/main" val="10023"/>
                  </a:ext>
                </a:extLst>
              </a:tr>
              <a:tr h="356080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1" i="0" u="none" baseline="0" dirty="0">
                          <a:effectLst/>
                        </a:rPr>
                        <a:t>Total other comprehensive income subject to </a:t>
                      </a:r>
                      <a:r>
                        <a:rPr lang="en" sz="1200" b="1" dirty="0">
                          <a:effectLst/>
                        </a:rPr>
                        <a:t/>
                      </a:r>
                      <a:br>
                        <a:rPr lang="en" sz="1200" b="1" dirty="0">
                          <a:effectLst/>
                        </a:rPr>
                      </a:br>
                      <a:r>
                        <a:rPr lang="en" sz="1200" b="1" i="0" u="none" baseline="0" dirty="0">
                          <a:effectLst/>
                        </a:rPr>
                        <a:t>reclassification to profit or loss</a:t>
                      </a:r>
                      <a:endParaRPr lang="en" sz="12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22" marR="38822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1" i="0" u="none" baseline="0">
                          <a:effectLst/>
                        </a:rPr>
                        <a:t>48.4</a:t>
                      </a:r>
                      <a:endParaRPr lang="en" sz="12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22" marR="38822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1" i="0" u="none" baseline="0">
                          <a:effectLst/>
                        </a:rPr>
                        <a:t>(13.8)</a:t>
                      </a:r>
                      <a:endParaRPr lang="en" sz="12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22" marR="38822" marT="0" marB="0" anchor="ctr"/>
                </a:tc>
                <a:extLst>
                  <a:ext uri="{0D108BD9-81ED-4DB2-BD59-A6C34878D82A}">
                    <a16:rowId xmlns="" xmlns:a16="http://schemas.microsoft.com/office/drawing/2014/main" val="10024"/>
                  </a:ext>
                </a:extLst>
              </a:tr>
              <a:tr h="178040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Actuarial gains / (losses) on employee benefits</a:t>
                      </a: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22" marR="38822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91.0</a:t>
                      </a: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22" marR="38822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(50.2)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22" marR="38822" marT="0" marB="0" anchor="ctr"/>
                </a:tc>
                <a:extLst>
                  <a:ext uri="{0D108BD9-81ED-4DB2-BD59-A6C34878D82A}">
                    <a16:rowId xmlns="" xmlns:a16="http://schemas.microsoft.com/office/drawing/2014/main" val="10025"/>
                  </a:ext>
                </a:extLst>
              </a:tr>
              <a:tr h="178040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Income tax </a:t>
                      </a: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22" marR="38822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(17.3)</a:t>
                      </a: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22" marR="38822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9.5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22" marR="38822" marT="0" marB="0" anchor="ctr"/>
                </a:tc>
                <a:extLst>
                  <a:ext uri="{0D108BD9-81ED-4DB2-BD59-A6C34878D82A}">
                    <a16:rowId xmlns="" xmlns:a16="http://schemas.microsoft.com/office/drawing/2014/main" val="10026"/>
                  </a:ext>
                </a:extLst>
              </a:tr>
              <a:tr h="178040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Measurement of equity instruments at fair value</a:t>
                      </a: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22" marR="38822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-</a:t>
                      </a: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22" marR="38822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(0.7)</a:t>
                      </a: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22" marR="38822" marT="0" marB="0" anchor="ctr"/>
                </a:tc>
                <a:extLst>
                  <a:ext uri="{0D108BD9-81ED-4DB2-BD59-A6C34878D82A}">
                    <a16:rowId xmlns="" xmlns:a16="http://schemas.microsoft.com/office/drawing/2014/main" val="10027"/>
                  </a:ext>
                </a:extLst>
              </a:tr>
              <a:tr h="356080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1" i="0" u="none" baseline="0">
                          <a:effectLst/>
                        </a:rPr>
                        <a:t>Total other comprehensive income not subject to </a:t>
                      </a:r>
                      <a:r>
                        <a:rPr lang="en" sz="1200" b="1">
                          <a:effectLst/>
                        </a:rPr>
                        <a:t/>
                      </a:r>
                      <a:br>
                        <a:rPr lang="en" sz="1200" b="1">
                          <a:effectLst/>
                        </a:rPr>
                      </a:br>
                      <a:r>
                        <a:rPr lang="en" sz="1200" b="1" i="0" u="none" baseline="0">
                          <a:effectLst/>
                        </a:rPr>
                        <a:t>reclassification to profit or loss</a:t>
                      </a:r>
                      <a:endParaRPr lang="en" sz="12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22" marR="38822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1" i="0" u="none" baseline="0">
                          <a:effectLst/>
                        </a:rPr>
                        <a:t>73.7</a:t>
                      </a:r>
                      <a:endParaRPr lang="en" sz="12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22" marR="38822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1" i="0" u="none" baseline="0">
                          <a:effectLst/>
                        </a:rPr>
                        <a:t>(41.4)</a:t>
                      </a:r>
                      <a:endParaRPr lang="en" sz="12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22" marR="38822" marT="0" marB="0" anchor="ctr"/>
                </a:tc>
                <a:extLst>
                  <a:ext uri="{0D108BD9-81ED-4DB2-BD59-A6C34878D82A}">
                    <a16:rowId xmlns="" xmlns:a16="http://schemas.microsoft.com/office/drawing/2014/main" val="10028"/>
                  </a:ext>
                </a:extLst>
              </a:tr>
              <a:tr h="178040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1" i="0" u="none" baseline="0">
                          <a:effectLst/>
                        </a:rPr>
                        <a:t>Total other comprehensive income</a:t>
                      </a:r>
                      <a:endParaRPr lang="en" sz="12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22" marR="38822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1" i="0" u="none" baseline="0">
                          <a:effectLst/>
                        </a:rPr>
                        <a:t>122.1</a:t>
                      </a:r>
                      <a:endParaRPr lang="en" sz="12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22" marR="38822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1" i="0" u="none" baseline="0">
                          <a:effectLst/>
                        </a:rPr>
                        <a:t>(55.2)</a:t>
                      </a:r>
                      <a:endParaRPr lang="en" sz="12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22" marR="38822" marT="0" marB="0" anchor="ctr"/>
                </a:tc>
                <a:extLst>
                  <a:ext uri="{0D108BD9-81ED-4DB2-BD59-A6C34878D82A}">
                    <a16:rowId xmlns="" xmlns:a16="http://schemas.microsoft.com/office/drawing/2014/main" val="10029"/>
                  </a:ext>
                </a:extLst>
              </a:tr>
              <a:tr h="178040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1" i="0" u="none" baseline="0">
                          <a:effectLst/>
                        </a:rPr>
                        <a:t>TOTAL COMPREHENSIVE INCOME</a:t>
                      </a:r>
                      <a:endParaRPr lang="en" sz="12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22" marR="38822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1" i="0" u="none" baseline="0">
                          <a:effectLst/>
                        </a:rPr>
                        <a:t>(103.2)</a:t>
                      </a:r>
                      <a:endParaRPr lang="en" sz="12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22" marR="38822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1" i="0" u="none" baseline="0" dirty="0">
                          <a:effectLst/>
                        </a:rPr>
                        <a:t>(279.5)</a:t>
                      </a:r>
                      <a:endParaRPr lang="en" sz="12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822" marR="38822" marT="0" marB="0" anchor="ctr"/>
                </a:tc>
                <a:extLst>
                  <a:ext uri="{0D108BD9-81ED-4DB2-BD59-A6C34878D82A}">
                    <a16:rowId xmlns="" xmlns:a16="http://schemas.microsoft.com/office/drawing/2014/main" val="10030"/>
                  </a:ext>
                </a:extLst>
              </a:tr>
            </a:tbl>
          </a:graphicData>
        </a:graphic>
      </p:graphicFrame>
      <p:sp>
        <p:nvSpPr>
          <p:cNvPr id="11" name="Symbol zastępczy numeru slajdu 10"/>
          <p:cNvSpPr>
            <a:spLocks noGrp="1"/>
          </p:cNvSpPr>
          <p:nvPr>
            <p:ph type="sldNum" sz="quarter" idx="7"/>
          </p:nvPr>
        </p:nvSpPr>
        <p:spPr>
          <a:xfrm>
            <a:off x="397892" y="6801187"/>
            <a:ext cx="417195" cy="473075"/>
          </a:xfrm>
        </p:spPr>
        <p:txBody>
          <a:bodyPr vert="horz" lIns="91440" tIns="45720" rIns="91440" bIns="45720" rtlCol="0" anchor="ctr"/>
          <a:lstStyle/>
          <a:p>
            <a:pPr algn="r" rtl="0"/>
            <a:fld id="{81D60167-4931-47E6-BA6A-407CBD079E47}" type="slidenum">
              <a:rPr sz="1400">
                <a:solidFill>
                  <a:schemeClr val="tx1">
                    <a:tint val="75000"/>
                  </a:schemeClr>
                </a:solidFill>
                <a:latin typeface="Myriad Pro" panose="020B0503030403020204" pitchFamily="34" charset="0"/>
                <a:cs typeface="+mn-cs"/>
              </a:rPr>
              <a:pPr algn="r" rtl="0"/>
              <a:t>14</a:t>
            </a:fld>
            <a:endParaRPr lang="en" sz="1400" dirty="0">
              <a:solidFill>
                <a:schemeClr val="tx1">
                  <a:tint val="75000"/>
                </a:schemeClr>
              </a:solidFill>
              <a:latin typeface="Myriad Pro" panose="020B0503030403020204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8739936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i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10017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178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rostokąt 5"/>
          <p:cNvSpPr/>
          <p:nvPr/>
        </p:nvSpPr>
        <p:spPr>
          <a:xfrm>
            <a:off x="642476" y="916286"/>
            <a:ext cx="934465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rtl="0">
              <a:spcBef>
                <a:spcPts val="300"/>
              </a:spcBef>
              <a:spcAft>
                <a:spcPts val="300"/>
              </a:spcAft>
            </a:pPr>
            <a:r>
              <a:rPr lang="en" b="1" i="0" u="none" kern="0" baseline="0">
                <a:solidFill>
                  <a:srgbClr val="015BAA"/>
                </a:solidFill>
                <a:latin typeface="Calibri" panose="020F0502020204030204" pitchFamily="34" charset="0"/>
                <a:ea typeface="Yu Gothic Light" panose="020B0300000000000000" pitchFamily="34" charset="-128"/>
                <a:cs typeface="Times New Roman" panose="02020603050405020304" pitchFamily="18" charset="0"/>
              </a:rPr>
              <a:t>CONSOLIDATED STATEMENT OF FINANCIAL POSITION - ASSETS</a:t>
            </a:r>
            <a:endParaRPr lang="en" b="1" kern="0" dirty="0">
              <a:solidFill>
                <a:srgbClr val="015BAA"/>
              </a:solidFill>
              <a:effectLst/>
              <a:latin typeface="Calibri" panose="020F0502020204030204" pitchFamily="34" charset="0"/>
              <a:ea typeface="Yu Gothic Light" panose="020B0300000000000000" pitchFamily="34" charset="-128"/>
              <a:cs typeface="Times New Roman" panose="02020603050405020304" pitchFamily="18" charset="0"/>
            </a:endParaRPr>
          </a:p>
        </p:txBody>
      </p:sp>
      <p:graphicFrame>
        <p:nvGraphicFramePr>
          <p:cNvPr id="5" name="Tabe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3339441"/>
              </p:ext>
            </p:extLst>
          </p:nvPr>
        </p:nvGraphicFramePr>
        <p:xfrm>
          <a:off x="703115" y="1285618"/>
          <a:ext cx="9223375" cy="3870226"/>
        </p:xfrm>
        <a:graphic>
          <a:graphicData uri="http://schemas.openxmlformats.org/drawingml/2006/table">
            <a:tbl>
              <a:tblPr firstRow="1" firstCol="1" bandRow="1">
                <a:tableStyleId>{69012ECD-51FC-41F1-AA8D-1B2483CD663E}</a:tableStyleId>
              </a:tblPr>
              <a:tblGrid>
                <a:gridCol w="5651447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78596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785964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212626">
                <a:tc>
                  <a:txBody>
                    <a:bodyPr/>
                    <a:lstStyle/>
                    <a:p>
                      <a:pPr algn="just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 </a:t>
                      </a: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31 December 2021 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31 December 2020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59469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1" i="0" u="none" baseline="0">
                          <a:effectLst/>
                        </a:rPr>
                        <a:t>ASSETS</a:t>
                      </a:r>
                      <a:endParaRPr lang="en" sz="12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 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 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39189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Rolling stock</a:t>
                      </a: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4,241.6</a:t>
                      </a: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4,245.0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59469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Other property, plant and equipment</a:t>
                      </a: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893.4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875.6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59469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Right-of-use assets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1,030.7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1,008.6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159469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Investments in entities accounted for under the equity method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36.7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42.0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159469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Trade receivables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4.2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3.0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159469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Lease receivables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8.5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10.3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/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159469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Other assets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40.5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35.1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/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159469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Deferred tax assets 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203.1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177.8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/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159469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1" i="0" u="none" baseline="0">
                          <a:effectLst/>
                        </a:rPr>
                        <a:t>Total non-current assets</a:t>
                      </a:r>
                      <a:endParaRPr lang="en" sz="12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1" i="0" u="none" baseline="0">
                          <a:effectLst/>
                        </a:rPr>
                        <a:t>6,458.7</a:t>
                      </a:r>
                      <a:endParaRPr lang="en" sz="12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1" i="0" u="none" baseline="0">
                          <a:effectLst/>
                        </a:rPr>
                        <a:t>6,397.4</a:t>
                      </a:r>
                      <a:endParaRPr lang="en" sz="12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159469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Inventories</a:t>
                      </a: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164.6</a:t>
                      </a: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165.8</a:t>
                      </a: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/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159469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Trade receivables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611.7</a:t>
                      </a: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585.8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/>
                </a:tc>
                <a:extLst>
                  <a:ext uri="{0D108BD9-81ED-4DB2-BD59-A6C34878D82A}">
                    <a16:rowId xmlns="" xmlns:a16="http://schemas.microsoft.com/office/drawing/2014/main" val="10012"/>
                  </a:ext>
                </a:extLst>
              </a:tr>
              <a:tr h="159469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Lease receivables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0.6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0.7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/>
                </a:tc>
                <a:extLst>
                  <a:ext uri="{0D108BD9-81ED-4DB2-BD59-A6C34878D82A}">
                    <a16:rowId xmlns="" xmlns:a16="http://schemas.microsoft.com/office/drawing/2014/main" val="10013"/>
                  </a:ext>
                </a:extLst>
              </a:tr>
              <a:tr h="159469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Income tax receivables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4.5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2.9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/>
                </a:tc>
                <a:extLst>
                  <a:ext uri="{0D108BD9-81ED-4DB2-BD59-A6C34878D82A}">
                    <a16:rowId xmlns="" xmlns:a16="http://schemas.microsoft.com/office/drawing/2014/main" val="10014"/>
                  </a:ext>
                </a:extLst>
              </a:tr>
              <a:tr h="159469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Other assets 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103.1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88.1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/>
                </a:tc>
                <a:extLst>
                  <a:ext uri="{0D108BD9-81ED-4DB2-BD59-A6C34878D82A}">
                    <a16:rowId xmlns="" xmlns:a16="http://schemas.microsoft.com/office/drawing/2014/main" val="10015"/>
                  </a:ext>
                </a:extLst>
              </a:tr>
              <a:tr h="159469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Cash and cash equivalents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254.5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306.0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/>
                </a:tc>
                <a:extLst>
                  <a:ext uri="{0D108BD9-81ED-4DB2-BD59-A6C34878D82A}">
                    <a16:rowId xmlns="" xmlns:a16="http://schemas.microsoft.com/office/drawing/2014/main" val="10016"/>
                  </a:ext>
                </a:extLst>
              </a:tr>
              <a:tr h="159469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1" i="0" u="none" baseline="0">
                          <a:effectLst/>
                        </a:rPr>
                        <a:t>Total current assets</a:t>
                      </a:r>
                      <a:endParaRPr lang="en" sz="12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1" i="0" u="none" baseline="0">
                          <a:effectLst/>
                        </a:rPr>
                        <a:t>1,139.0</a:t>
                      </a:r>
                      <a:endParaRPr lang="en" sz="12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1" i="0" u="none" baseline="0">
                          <a:effectLst/>
                        </a:rPr>
                        <a:t>1,149.3</a:t>
                      </a:r>
                      <a:endParaRPr lang="en" sz="12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7"/>
                  </a:ext>
                </a:extLst>
              </a:tr>
              <a:tr h="159469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Non-current assets classified as held for sale</a:t>
                      </a: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15.7</a:t>
                      </a: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12.7</a:t>
                      </a: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/>
                </a:tc>
                <a:extLst>
                  <a:ext uri="{0D108BD9-81ED-4DB2-BD59-A6C34878D82A}">
                    <a16:rowId xmlns="" xmlns:a16="http://schemas.microsoft.com/office/drawing/2014/main" val="10018"/>
                  </a:ext>
                </a:extLst>
              </a:tr>
              <a:tr h="180106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 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 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/>
                </a:tc>
                <a:tc>
                  <a:txBody>
                    <a:bodyPr/>
                    <a:lstStyle/>
                    <a:p>
                      <a:endParaRPr lang="en" sz="1200" b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776" marR="43776" marT="0" marB="0" anchor="ctr"/>
                </a:tc>
                <a:extLst>
                  <a:ext uri="{0D108BD9-81ED-4DB2-BD59-A6C34878D82A}">
                    <a16:rowId xmlns="" xmlns:a16="http://schemas.microsoft.com/office/drawing/2014/main" val="10019"/>
                  </a:ext>
                </a:extLst>
              </a:tr>
              <a:tr h="159469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1" i="0" u="none" baseline="0">
                          <a:effectLst/>
                        </a:rPr>
                        <a:t>TOTAL ASSETS</a:t>
                      </a:r>
                      <a:endParaRPr lang="en" sz="12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1" i="0" u="none" baseline="0">
                          <a:effectLst/>
                        </a:rPr>
                        <a:t>7,613.4</a:t>
                      </a:r>
                      <a:endParaRPr lang="en" sz="12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1" i="0" u="none" baseline="0">
                          <a:effectLst/>
                        </a:rPr>
                        <a:t>7,559.4</a:t>
                      </a:r>
                      <a:endParaRPr lang="en" sz="12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20"/>
                  </a:ext>
                </a:extLst>
              </a:tr>
            </a:tbl>
          </a:graphicData>
        </a:graphic>
      </p:graphicFrame>
      <p:sp>
        <p:nvSpPr>
          <p:cNvPr id="8" name="Symbol zastępczy numeru slajdu 7"/>
          <p:cNvSpPr>
            <a:spLocks noGrp="1"/>
          </p:cNvSpPr>
          <p:nvPr>
            <p:ph type="sldNum" sz="quarter" idx="7"/>
          </p:nvPr>
        </p:nvSpPr>
        <p:spPr>
          <a:xfrm>
            <a:off x="642476" y="6763812"/>
            <a:ext cx="417195" cy="473075"/>
          </a:xfrm>
        </p:spPr>
        <p:txBody>
          <a:bodyPr vert="horz" lIns="91440" tIns="45720" rIns="91440" bIns="45720" rtlCol="0" anchor="ctr"/>
          <a:lstStyle/>
          <a:p>
            <a:pPr algn="r" rtl="0"/>
            <a:fld id="{81D60167-4931-47E6-BA6A-407CBD079E47}" type="slidenum">
              <a:rPr sz="1400">
                <a:solidFill>
                  <a:schemeClr val="tx1">
                    <a:tint val="75000"/>
                  </a:schemeClr>
                </a:solidFill>
                <a:latin typeface="Myriad Pro" panose="020B0503030403020204" pitchFamily="34" charset="0"/>
                <a:cs typeface="+mn-cs"/>
              </a:rPr>
              <a:pPr algn="r" rtl="0"/>
              <a:t>15</a:t>
            </a:fld>
            <a:endParaRPr lang="en" sz="1400" dirty="0">
              <a:solidFill>
                <a:schemeClr val="tx1">
                  <a:tint val="75000"/>
                </a:schemeClr>
              </a:solidFill>
              <a:latin typeface="Myriad Pro" panose="020B0503030403020204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7372517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i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50446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200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rostokąt 5"/>
          <p:cNvSpPr/>
          <p:nvPr/>
        </p:nvSpPr>
        <p:spPr>
          <a:xfrm>
            <a:off x="635001" y="447406"/>
            <a:ext cx="934465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rtl="0">
              <a:spcBef>
                <a:spcPts val="300"/>
              </a:spcBef>
              <a:spcAft>
                <a:spcPts val="300"/>
              </a:spcAft>
            </a:pPr>
            <a:r>
              <a:rPr lang="en" b="1" i="0" u="none" kern="0" baseline="0" dirty="0">
                <a:solidFill>
                  <a:srgbClr val="015BAA"/>
                </a:solidFill>
                <a:latin typeface="Calibri" panose="020F0502020204030204" pitchFamily="34" charset="0"/>
                <a:ea typeface="Yu Gothic Light" panose="020B0300000000000000" pitchFamily="34" charset="-128"/>
                <a:cs typeface="Times New Roman" panose="02020603050405020304" pitchFamily="18" charset="0"/>
              </a:rPr>
              <a:t>CONSOLIDATED STATEMENT OF FINANCIAL POSITION – EQUITY AND LIABILITIES</a:t>
            </a:r>
            <a:endParaRPr lang="en" b="1" kern="0" dirty="0">
              <a:solidFill>
                <a:srgbClr val="015BAA"/>
              </a:solidFill>
              <a:effectLst/>
              <a:latin typeface="Calibri" panose="020F0502020204030204" pitchFamily="34" charset="0"/>
              <a:ea typeface="Yu Gothic Light" panose="020B0300000000000000" pitchFamily="34" charset="-128"/>
              <a:cs typeface="Times New Roman" panose="02020603050405020304" pitchFamily="18" charset="0"/>
            </a:endParaRPr>
          </a:p>
        </p:txBody>
      </p:sp>
      <p:graphicFrame>
        <p:nvGraphicFramePr>
          <p:cNvPr id="5" name="Tabe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06879150"/>
              </p:ext>
            </p:extLst>
          </p:nvPr>
        </p:nvGraphicFramePr>
        <p:xfrm>
          <a:off x="695639" y="1093737"/>
          <a:ext cx="9223375" cy="4389120"/>
        </p:xfrm>
        <a:graphic>
          <a:graphicData uri="http://schemas.openxmlformats.org/drawingml/2006/table">
            <a:tbl>
              <a:tblPr firstRow="1" firstCol="1" bandRow="1">
                <a:tableStyleId>{69012ECD-51FC-41F1-AA8D-1B2483CD663E}</a:tableStyleId>
              </a:tblPr>
              <a:tblGrid>
                <a:gridCol w="5651447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78596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785964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180106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1" i="0" u="none" baseline="0">
                          <a:effectLst/>
                        </a:rPr>
                        <a:t>EQUITY AND LIABILITIES</a:t>
                      </a:r>
                      <a:endParaRPr lang="en" sz="12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 </a:t>
                      </a:r>
                      <a:endParaRPr lang="en" sz="12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/>
                </a:tc>
                <a:tc>
                  <a:txBody>
                    <a:bodyPr/>
                    <a:lstStyle/>
                    <a:p>
                      <a:endParaRPr lang="en" sz="1200" b="1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776" marR="43776" marT="0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59469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Share capital</a:t>
                      </a: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2,239.3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2,239.3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59469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Supplementary capital</a:t>
                      </a: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771.7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782.4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59469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Other items of equity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(75.8)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(160.2)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59469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 dirty="0">
                          <a:effectLst/>
                        </a:rPr>
                        <a:t>Exchange differences from conversion of financial statements of foreign operations</a:t>
                      </a: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142.5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104.8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159469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Retained earnings / (Accumulated losses)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(37.1)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177.5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159469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1" i="0" u="none" baseline="0">
                          <a:effectLst/>
                        </a:rPr>
                        <a:t>Total equity</a:t>
                      </a:r>
                      <a:endParaRPr lang="en" sz="12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1" i="0" u="none" baseline="0">
                          <a:effectLst/>
                        </a:rPr>
                        <a:t>3,040.6</a:t>
                      </a:r>
                      <a:endParaRPr lang="en" sz="12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1" i="0" u="none" baseline="0">
                          <a:effectLst/>
                        </a:rPr>
                        <a:t>3,143.8</a:t>
                      </a:r>
                      <a:endParaRPr lang="en" sz="12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159469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Debt liabilities</a:t>
                      </a: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2,090.3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2,101.8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/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159469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Trade payables </a:t>
                      </a: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2.3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1.5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/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159469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Investment commitments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111.8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145.5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/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159469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Provisions for employee benefits</a:t>
                      </a: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529.1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684.3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/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159469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Other provisions </a:t>
                      </a: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7.0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5.7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/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159469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Deferred tax liability</a:t>
                      </a: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93.3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90.7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/>
                </a:tc>
                <a:extLst>
                  <a:ext uri="{0D108BD9-81ED-4DB2-BD59-A6C34878D82A}">
                    <a16:rowId xmlns="" xmlns:a16="http://schemas.microsoft.com/office/drawing/2014/main" val="10012"/>
                  </a:ext>
                </a:extLst>
              </a:tr>
              <a:tr h="159469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1" i="0" u="none" baseline="0">
                          <a:effectLst/>
                        </a:rPr>
                        <a:t>Total non-current liabilities</a:t>
                      </a:r>
                      <a:endParaRPr lang="en" sz="12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1" i="0" u="none" baseline="0">
                          <a:effectLst/>
                        </a:rPr>
                        <a:t>2,833.8</a:t>
                      </a:r>
                      <a:endParaRPr lang="en" sz="12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1" i="0" u="none" baseline="0">
                          <a:effectLst/>
                        </a:rPr>
                        <a:t>3,029.5</a:t>
                      </a:r>
                      <a:endParaRPr lang="en" sz="12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3"/>
                  </a:ext>
                </a:extLst>
              </a:tr>
              <a:tr h="159469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Debt liabilities</a:t>
                      </a: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473.9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478.5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/>
                </a:tc>
                <a:extLst>
                  <a:ext uri="{0D108BD9-81ED-4DB2-BD59-A6C34878D82A}">
                    <a16:rowId xmlns="" xmlns:a16="http://schemas.microsoft.com/office/drawing/2014/main" val="10014"/>
                  </a:ext>
                </a:extLst>
              </a:tr>
              <a:tr h="159469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Trade payables</a:t>
                      </a: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639.0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347.5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/>
                </a:tc>
                <a:extLst>
                  <a:ext uri="{0D108BD9-81ED-4DB2-BD59-A6C34878D82A}">
                    <a16:rowId xmlns="" xmlns:a16="http://schemas.microsoft.com/office/drawing/2014/main" val="10015"/>
                  </a:ext>
                </a:extLst>
              </a:tr>
              <a:tr h="159469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Investment commitments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221.4</a:t>
                      </a: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133.5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/>
                </a:tc>
                <a:extLst>
                  <a:ext uri="{0D108BD9-81ED-4DB2-BD59-A6C34878D82A}">
                    <a16:rowId xmlns="" xmlns:a16="http://schemas.microsoft.com/office/drawing/2014/main" val="10016"/>
                  </a:ext>
                </a:extLst>
              </a:tr>
              <a:tr h="159469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Provisions for employee benefits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127.3</a:t>
                      </a: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116.3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/>
                </a:tc>
                <a:extLst>
                  <a:ext uri="{0D108BD9-81ED-4DB2-BD59-A6C34878D82A}">
                    <a16:rowId xmlns="" xmlns:a16="http://schemas.microsoft.com/office/drawing/2014/main" val="10017"/>
                  </a:ext>
                </a:extLst>
              </a:tr>
              <a:tr h="159469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Other provisions 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23.3</a:t>
                      </a: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24.1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/>
                </a:tc>
                <a:extLst>
                  <a:ext uri="{0D108BD9-81ED-4DB2-BD59-A6C34878D82A}">
                    <a16:rowId xmlns="" xmlns:a16="http://schemas.microsoft.com/office/drawing/2014/main" val="10018"/>
                  </a:ext>
                </a:extLst>
              </a:tr>
              <a:tr h="159469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Other liabilities 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254.1</a:t>
                      </a: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286.2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/>
                </a:tc>
                <a:extLst>
                  <a:ext uri="{0D108BD9-81ED-4DB2-BD59-A6C34878D82A}">
                    <a16:rowId xmlns="" xmlns:a16="http://schemas.microsoft.com/office/drawing/2014/main" val="10019"/>
                  </a:ext>
                </a:extLst>
              </a:tr>
              <a:tr h="159469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1" i="0" u="none" baseline="0">
                          <a:effectLst/>
                        </a:rPr>
                        <a:t>Total current liabilities</a:t>
                      </a:r>
                      <a:endParaRPr lang="en" sz="12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1" i="0" u="none" baseline="0">
                          <a:effectLst/>
                        </a:rPr>
                        <a:t>1,739.0</a:t>
                      </a:r>
                      <a:endParaRPr lang="en" sz="12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1" i="0" u="none" baseline="0">
                          <a:effectLst/>
                        </a:rPr>
                        <a:t>1,386.1</a:t>
                      </a:r>
                      <a:endParaRPr lang="en" sz="12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20"/>
                  </a:ext>
                </a:extLst>
              </a:tr>
              <a:tr h="159469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1" i="0" u="none" baseline="0">
                          <a:effectLst/>
                        </a:rPr>
                        <a:t>Total liabilities</a:t>
                      </a:r>
                      <a:endParaRPr lang="en" sz="12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1" i="0" u="none" baseline="0">
                          <a:effectLst/>
                        </a:rPr>
                        <a:t>4,572.8</a:t>
                      </a:r>
                      <a:endParaRPr lang="en" sz="12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1" i="0" u="none" baseline="0">
                          <a:effectLst/>
                        </a:rPr>
                        <a:t>4,415.6</a:t>
                      </a:r>
                      <a:endParaRPr lang="en" sz="12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21"/>
                  </a:ext>
                </a:extLst>
              </a:tr>
              <a:tr h="180106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 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 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/>
                </a:tc>
                <a:tc>
                  <a:txBody>
                    <a:bodyPr/>
                    <a:lstStyle/>
                    <a:p>
                      <a:endParaRPr lang="en" sz="1200" b="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3776" marR="43776" marT="0" marB="0" anchor="ctr"/>
                </a:tc>
                <a:extLst>
                  <a:ext uri="{0D108BD9-81ED-4DB2-BD59-A6C34878D82A}">
                    <a16:rowId xmlns="" xmlns:a16="http://schemas.microsoft.com/office/drawing/2014/main" val="10022"/>
                  </a:ext>
                </a:extLst>
              </a:tr>
              <a:tr h="159469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1" i="0" u="none" baseline="0">
                          <a:effectLst/>
                        </a:rPr>
                        <a:t>TOTAL EQUITY AND LIABILITIES</a:t>
                      </a:r>
                      <a:endParaRPr lang="en" sz="12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1" i="0" u="none" baseline="0">
                          <a:effectLst/>
                        </a:rPr>
                        <a:t>7,613.4</a:t>
                      </a:r>
                      <a:endParaRPr lang="en" sz="12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1" i="0" u="none" baseline="0" dirty="0">
                          <a:effectLst/>
                        </a:rPr>
                        <a:t>7,559.4</a:t>
                      </a:r>
                      <a:endParaRPr lang="en" sz="12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3776" marR="43776" marT="0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23"/>
                  </a:ext>
                </a:extLst>
              </a:tr>
            </a:tbl>
          </a:graphicData>
        </a:graphic>
      </p:graphicFrame>
      <p:sp>
        <p:nvSpPr>
          <p:cNvPr id="8" name="Symbol zastępczy numeru slajdu 7"/>
          <p:cNvSpPr>
            <a:spLocks noGrp="1"/>
          </p:cNvSpPr>
          <p:nvPr>
            <p:ph type="sldNum" sz="quarter" idx="7"/>
          </p:nvPr>
        </p:nvSpPr>
        <p:spPr>
          <a:xfrm>
            <a:off x="635001" y="6763813"/>
            <a:ext cx="417195" cy="473075"/>
          </a:xfrm>
        </p:spPr>
        <p:txBody>
          <a:bodyPr vert="horz" lIns="91440" tIns="45720" rIns="91440" bIns="45720" rtlCol="0" anchor="ctr"/>
          <a:lstStyle/>
          <a:p>
            <a:pPr algn="r" rtl="0"/>
            <a:fld id="{81D60167-4931-47E6-BA6A-407CBD079E47}" type="slidenum">
              <a:rPr sz="1400">
                <a:solidFill>
                  <a:schemeClr val="tx1">
                    <a:tint val="75000"/>
                  </a:schemeClr>
                </a:solidFill>
                <a:latin typeface="Myriad Pro" panose="020B0503030403020204" pitchFamily="34" charset="0"/>
                <a:cs typeface="+mn-cs"/>
              </a:rPr>
              <a:pPr algn="r" rtl="0"/>
              <a:t>16</a:t>
            </a:fld>
            <a:endParaRPr lang="en" sz="1400" dirty="0">
              <a:solidFill>
                <a:schemeClr val="tx1">
                  <a:tint val="75000"/>
                </a:schemeClr>
              </a:solidFill>
              <a:latin typeface="Myriad Pro" panose="020B0503030403020204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188345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i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42048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225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rostokąt 5"/>
          <p:cNvSpPr/>
          <p:nvPr/>
        </p:nvSpPr>
        <p:spPr>
          <a:xfrm>
            <a:off x="738224" y="513599"/>
            <a:ext cx="845586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rtl="0">
              <a:spcBef>
                <a:spcPts val="300"/>
              </a:spcBef>
              <a:spcAft>
                <a:spcPts val="300"/>
              </a:spcAft>
            </a:pPr>
            <a:r>
              <a:rPr lang="en" b="1" i="0" u="none" kern="0" baseline="0">
                <a:solidFill>
                  <a:srgbClr val="015BAA"/>
                </a:solidFill>
                <a:latin typeface="Calibri" panose="020F0502020204030204" pitchFamily="34" charset="0"/>
                <a:ea typeface="Yu Gothic Light" panose="020B0300000000000000" pitchFamily="34" charset="-128"/>
                <a:cs typeface="Times New Roman" panose="02020603050405020304" pitchFamily="18" charset="0"/>
              </a:rPr>
              <a:t>CONSOLIDATED CASH FLOW STATEMENT</a:t>
            </a:r>
            <a:endParaRPr lang="en" b="1" kern="0" dirty="0">
              <a:solidFill>
                <a:srgbClr val="015BAA"/>
              </a:solidFill>
              <a:latin typeface="Calibri" panose="020F0502020204030204" pitchFamily="34" charset="0"/>
              <a:ea typeface="Yu Gothic Light" panose="020B0300000000000000" pitchFamily="34" charset="-128"/>
              <a:cs typeface="Times New Roman" panose="02020603050405020304" pitchFamily="18" charset="0"/>
            </a:endParaRPr>
          </a:p>
        </p:txBody>
      </p:sp>
      <p:graphicFrame>
        <p:nvGraphicFramePr>
          <p:cNvPr id="5" name="Tabe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85054043"/>
              </p:ext>
            </p:extLst>
          </p:nvPr>
        </p:nvGraphicFramePr>
        <p:xfrm>
          <a:off x="840097" y="882931"/>
          <a:ext cx="8353988" cy="5860237"/>
        </p:xfrm>
        <a:graphic>
          <a:graphicData uri="http://schemas.openxmlformats.org/drawingml/2006/table">
            <a:tbl>
              <a:tblPr firstRow="1" firstCol="1" bandRow="1">
                <a:tableStyleId>{69012ECD-51FC-41F1-AA8D-1B2483CD663E}</a:tableStyleId>
              </a:tblPr>
              <a:tblGrid>
                <a:gridCol w="583781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258087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258087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190957">
                <a:tc>
                  <a:txBody>
                    <a:bodyPr/>
                    <a:lstStyle/>
                    <a:p>
                      <a:pPr algn="just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 </a:t>
                      </a:r>
                      <a:endParaRPr lang="en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260" marR="4026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1" i="0" u="none" baseline="0">
                          <a:effectLst/>
                        </a:rPr>
                        <a:t>2021</a:t>
                      </a:r>
                      <a:endParaRPr lang="en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260" marR="4026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1" i="0" u="none" baseline="0">
                          <a:effectLst/>
                        </a:rPr>
                        <a:t>2020</a:t>
                      </a:r>
                      <a:endParaRPr lang="en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260" marR="40260" marT="0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46662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1" i="0" u="none" baseline="0">
                          <a:effectLst/>
                        </a:rPr>
                        <a:t>Cash flows from operating activities</a:t>
                      </a:r>
                      <a:endParaRPr lang="en" sz="12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260" marR="4026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 </a:t>
                      </a:r>
                      <a:endParaRPr lang="en" sz="12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260" marR="4026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 </a:t>
                      </a:r>
                      <a:endParaRPr lang="en" sz="12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260" marR="40260" marT="0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46662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1" i="0" u="none" baseline="0">
                          <a:effectLst/>
                        </a:rPr>
                        <a:t>Profit / (loss) before tax</a:t>
                      </a:r>
                      <a:endParaRPr lang="en" sz="12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260" marR="4026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1" i="0" u="none" baseline="0">
                          <a:effectLst/>
                        </a:rPr>
                        <a:t>(264.4)</a:t>
                      </a:r>
                      <a:endParaRPr lang="en" sz="12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260" marR="4026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1" i="0" u="none" baseline="0">
                          <a:effectLst/>
                        </a:rPr>
                        <a:t>(266.9)</a:t>
                      </a:r>
                      <a:endParaRPr lang="en" sz="12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260" marR="4026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65642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1" i="0" u="none" baseline="0">
                          <a:effectLst/>
                        </a:rPr>
                        <a:t>Adjustments</a:t>
                      </a:r>
                      <a:endParaRPr lang="en" sz="12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260" marR="4026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 </a:t>
                      </a:r>
                      <a:endParaRPr lang="en" sz="12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260" marR="40260" marT="0" marB="0" anchor="ctr"/>
                </a:tc>
                <a:tc>
                  <a:txBody>
                    <a:bodyPr/>
                    <a:lstStyle/>
                    <a:p>
                      <a:endParaRPr lang="en" sz="1200" b="1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260" marR="40260" marT="0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46662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Depreciation, amortization and impairment allowances</a:t>
                      </a: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260" marR="4026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722.0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260" marR="4026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766.6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260" marR="40260" marT="0" marB="0"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146662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(Profit) / loss on the sale and liquidation of non-financial non-current assets</a:t>
                      </a: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260" marR="4026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(19.2)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260" marR="4026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(8.9)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260" marR="40260" marT="0" marB="0" anchor="ctr"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146662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Foreign exchange (gains)/losses</a:t>
                      </a: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260" marR="4026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4.8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260" marR="4026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13.9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260" marR="40260" marT="0" marB="0" anchor="ctr"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146662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(Profits) / losses on interest, dividends</a:t>
                      </a: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260" marR="4026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50.1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260" marR="4026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54.4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260" marR="40260" marT="0" marB="0" anchor="ctr"/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146662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Interest received / (paid)</a:t>
                      </a: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260" marR="4026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0.7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260" marR="4026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2.0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260" marR="40260" marT="0" marB="0" anchor="ctr"/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146662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Income tax received / (paid)</a:t>
                      </a: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260" marR="4026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(11.3)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260" marR="4026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42.9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260" marR="40260" marT="0" marB="0" anchor="ctr"/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146662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Movement in working capital</a:t>
                      </a: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260" marR="4026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125.1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260" marR="4026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12.4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260" marR="40260" marT="0" marB="0" anchor="ctr"/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146662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Other adjustments</a:t>
                      </a: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260" marR="4026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92.0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260" marR="4026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(63.3)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260" marR="40260" marT="0" marB="0" anchor="ctr"/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146662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1" i="0" u="none" baseline="0">
                          <a:effectLst/>
                        </a:rPr>
                        <a:t>Net cash from operating activities</a:t>
                      </a:r>
                      <a:endParaRPr lang="en" sz="12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260" marR="4026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1" i="0" u="none" baseline="0">
                          <a:effectLst/>
                        </a:rPr>
                        <a:t>699.8</a:t>
                      </a:r>
                      <a:endParaRPr lang="en" sz="12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260" marR="4026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1" i="0" u="none" baseline="0">
                          <a:effectLst/>
                        </a:rPr>
                        <a:t>553.1</a:t>
                      </a:r>
                      <a:endParaRPr lang="en" sz="12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260" marR="4026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2"/>
                  </a:ext>
                </a:extLst>
              </a:tr>
              <a:tr h="165642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1" i="0" u="none" baseline="0">
                          <a:effectLst/>
                        </a:rPr>
                        <a:t>Cash flows from investing activities</a:t>
                      </a:r>
                      <a:endParaRPr lang="en" sz="12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260" marR="4026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 </a:t>
                      </a:r>
                      <a:endParaRPr lang="en" sz="12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260" marR="40260" marT="0" marB="0" anchor="ctr"/>
                </a:tc>
                <a:tc>
                  <a:txBody>
                    <a:bodyPr/>
                    <a:lstStyle/>
                    <a:p>
                      <a:endParaRPr lang="en" sz="1200" b="1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260" marR="40260" marT="0" marB="0" anchor="ctr"/>
                </a:tc>
                <a:extLst>
                  <a:ext uri="{0D108BD9-81ED-4DB2-BD59-A6C34878D82A}">
                    <a16:rowId xmlns="" xmlns:a16="http://schemas.microsoft.com/office/drawing/2014/main" val="10013"/>
                  </a:ext>
                </a:extLst>
              </a:tr>
              <a:tr h="146662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Expenditures on the acquisition of non-financial non-current assets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260" marR="4026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(808.5)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260" marR="4026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(719.0)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260" marR="40260" marT="0" marB="0" anchor="ctr"/>
                </a:tc>
                <a:extLst>
                  <a:ext uri="{0D108BD9-81ED-4DB2-BD59-A6C34878D82A}">
                    <a16:rowId xmlns="" xmlns:a16="http://schemas.microsoft.com/office/drawing/2014/main" val="10014"/>
                  </a:ext>
                </a:extLst>
              </a:tr>
              <a:tr h="146662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Proceeds from the sale of non-financial non-current assets</a:t>
                      </a: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260" marR="4026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158.4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260" marR="4026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60.3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260" marR="40260" marT="0" marB="0" anchor="ctr"/>
                </a:tc>
                <a:extLst>
                  <a:ext uri="{0D108BD9-81ED-4DB2-BD59-A6C34878D82A}">
                    <a16:rowId xmlns="" xmlns:a16="http://schemas.microsoft.com/office/drawing/2014/main" val="10015"/>
                  </a:ext>
                </a:extLst>
              </a:tr>
              <a:tr h="146662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Proceeds from dividends received</a:t>
                      </a: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260" marR="4026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2.9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260" marR="4026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0.4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260" marR="40260" marT="0" marB="0" anchor="ctr"/>
                </a:tc>
                <a:extLst>
                  <a:ext uri="{0D108BD9-81ED-4DB2-BD59-A6C34878D82A}">
                    <a16:rowId xmlns="" xmlns:a16="http://schemas.microsoft.com/office/drawing/2014/main" val="10016"/>
                  </a:ext>
                </a:extLst>
              </a:tr>
              <a:tr h="146662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Other proceeds / (expenditures) from investing activities</a:t>
                      </a: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260" marR="4026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1.6</a:t>
                      </a: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260" marR="4026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3.2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260" marR="40260" marT="0" marB="0" anchor="ctr"/>
                </a:tc>
                <a:extLst>
                  <a:ext uri="{0D108BD9-81ED-4DB2-BD59-A6C34878D82A}">
                    <a16:rowId xmlns="" xmlns:a16="http://schemas.microsoft.com/office/drawing/2014/main" val="10017"/>
                  </a:ext>
                </a:extLst>
              </a:tr>
              <a:tr h="146662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1" i="0" u="none" baseline="0">
                          <a:effectLst/>
                        </a:rPr>
                        <a:t>Net cash from investing activities</a:t>
                      </a:r>
                      <a:endParaRPr lang="en" sz="12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260" marR="4026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1" i="0" u="none" baseline="0">
                          <a:effectLst/>
                        </a:rPr>
                        <a:t>(645.6)</a:t>
                      </a:r>
                      <a:endParaRPr lang="en" sz="12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260" marR="4026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1" i="0" u="none" baseline="0">
                          <a:effectLst/>
                        </a:rPr>
                        <a:t>(655.1)</a:t>
                      </a:r>
                      <a:endParaRPr lang="en" sz="12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260" marR="4026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8"/>
                  </a:ext>
                </a:extLst>
              </a:tr>
              <a:tr h="165642">
                <a:tc>
                  <a:txBody>
                    <a:bodyPr/>
                    <a:lstStyle/>
                    <a:p>
                      <a:pPr algn="just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Cash flows from financing activities</a:t>
                      </a: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260" marR="4026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 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260" marR="40260" marT="0" marB="0" anchor="ctr"/>
                </a:tc>
                <a:tc>
                  <a:txBody>
                    <a:bodyPr/>
                    <a:lstStyle/>
                    <a:p>
                      <a:endParaRPr lang="en" sz="1200" b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260" marR="40260" marT="0" marB="0" anchor="ctr"/>
                </a:tc>
                <a:extLst>
                  <a:ext uri="{0D108BD9-81ED-4DB2-BD59-A6C34878D82A}">
                    <a16:rowId xmlns="" xmlns:a16="http://schemas.microsoft.com/office/drawing/2014/main" val="10019"/>
                  </a:ext>
                </a:extLst>
              </a:tr>
              <a:tr h="146662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Expenditures on leases</a:t>
                      </a: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260" marR="4026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(128.5)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260" marR="4026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(148.5)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260" marR="40260" marT="0" marB="0" anchor="ctr"/>
                </a:tc>
                <a:extLst>
                  <a:ext uri="{0D108BD9-81ED-4DB2-BD59-A6C34878D82A}">
                    <a16:rowId xmlns="" xmlns:a16="http://schemas.microsoft.com/office/drawing/2014/main" val="10020"/>
                  </a:ext>
                </a:extLst>
              </a:tr>
              <a:tr h="146662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Proceeds from drawn down loans / credit facilities</a:t>
                      </a: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260" marR="4026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323.9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260" marR="4026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285.7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260" marR="40260" marT="0" marB="0" anchor="ctr"/>
                </a:tc>
                <a:extLst>
                  <a:ext uri="{0D108BD9-81ED-4DB2-BD59-A6C34878D82A}">
                    <a16:rowId xmlns="" xmlns:a16="http://schemas.microsoft.com/office/drawing/2014/main" val="10021"/>
                  </a:ext>
                </a:extLst>
              </a:tr>
              <a:tr h="146662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Repayment of loans/ credit facilities</a:t>
                      </a: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260" marR="4026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(348.6)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260" marR="4026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(301.2)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260" marR="40260" marT="0" marB="0" anchor="ctr"/>
                </a:tc>
                <a:extLst>
                  <a:ext uri="{0D108BD9-81ED-4DB2-BD59-A6C34878D82A}">
                    <a16:rowId xmlns="" xmlns:a16="http://schemas.microsoft.com/office/drawing/2014/main" val="10022"/>
                  </a:ext>
                </a:extLst>
              </a:tr>
              <a:tr h="146662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Interest paid on leases and loans/borrowings</a:t>
                      </a: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260" marR="4026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(42.4)</a:t>
                      </a: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260" marR="4026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(53.0)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260" marR="40260" marT="0" marB="0" anchor="ctr"/>
                </a:tc>
                <a:extLst>
                  <a:ext uri="{0D108BD9-81ED-4DB2-BD59-A6C34878D82A}">
                    <a16:rowId xmlns="" xmlns:a16="http://schemas.microsoft.com/office/drawing/2014/main" val="10023"/>
                  </a:ext>
                </a:extLst>
              </a:tr>
              <a:tr h="146662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Subsidies received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260" marR="4026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93.3</a:t>
                      </a: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260" marR="4026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74.7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260" marR="40260" marT="0" marB="0" anchor="ctr"/>
                </a:tc>
                <a:extLst>
                  <a:ext uri="{0D108BD9-81ED-4DB2-BD59-A6C34878D82A}">
                    <a16:rowId xmlns="" xmlns:a16="http://schemas.microsoft.com/office/drawing/2014/main" val="10024"/>
                  </a:ext>
                </a:extLst>
              </a:tr>
              <a:tr h="146662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Other expenditures concerning financing activities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260" marR="4026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(4.1)</a:t>
                      </a: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260" marR="4026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(3.6)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260" marR="40260" marT="0" marB="0" anchor="ctr"/>
                </a:tc>
                <a:extLst>
                  <a:ext uri="{0D108BD9-81ED-4DB2-BD59-A6C34878D82A}">
                    <a16:rowId xmlns="" xmlns:a16="http://schemas.microsoft.com/office/drawing/2014/main" val="10025"/>
                  </a:ext>
                </a:extLst>
              </a:tr>
              <a:tr h="146662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1" i="0" u="none" baseline="0">
                          <a:effectLst/>
                        </a:rPr>
                        <a:t>Net cash from financing activities</a:t>
                      </a:r>
                      <a:endParaRPr lang="en" sz="12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260" marR="4026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1" i="0" u="none" baseline="0">
                          <a:effectLst/>
                        </a:rPr>
                        <a:t>(106.4)</a:t>
                      </a:r>
                      <a:endParaRPr lang="en" sz="12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260" marR="4026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1" i="0" u="none" baseline="0">
                          <a:effectLst/>
                        </a:rPr>
                        <a:t>(145.9)</a:t>
                      </a:r>
                      <a:endParaRPr lang="en" sz="12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260" marR="4026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26"/>
                  </a:ext>
                </a:extLst>
              </a:tr>
              <a:tr h="146662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Net increase / (decrease) in cash and cash equivalents</a:t>
                      </a: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260" marR="4026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(52.2)</a:t>
                      </a: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260" marR="4026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(247.9)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260" marR="40260" marT="0" marB="0" anchor="ctr"/>
                </a:tc>
                <a:extLst>
                  <a:ext uri="{0D108BD9-81ED-4DB2-BD59-A6C34878D82A}">
                    <a16:rowId xmlns="" xmlns:a16="http://schemas.microsoft.com/office/drawing/2014/main" val="10027"/>
                  </a:ext>
                </a:extLst>
              </a:tr>
              <a:tr h="146662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Cash and cash equivalents at the beginning of the reporting period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260" marR="4026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306.0</a:t>
                      </a: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260" marR="4026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550.4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260" marR="40260" marT="0" marB="0" anchor="ctr"/>
                </a:tc>
                <a:extLst>
                  <a:ext uri="{0D108BD9-81ED-4DB2-BD59-A6C34878D82A}">
                    <a16:rowId xmlns="" xmlns:a16="http://schemas.microsoft.com/office/drawing/2014/main" val="10028"/>
                  </a:ext>
                </a:extLst>
              </a:tr>
              <a:tr h="146662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Impact of FX rate movements on the cash balance in foreign currencies</a:t>
                      </a: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260" marR="4026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0.7</a:t>
                      </a: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260" marR="4026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3.5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260" marR="40260" marT="0" marB="0" anchor="ctr"/>
                </a:tc>
                <a:extLst>
                  <a:ext uri="{0D108BD9-81ED-4DB2-BD59-A6C34878D82A}">
                    <a16:rowId xmlns="" xmlns:a16="http://schemas.microsoft.com/office/drawing/2014/main" val="10029"/>
                  </a:ext>
                </a:extLst>
              </a:tr>
              <a:tr h="146662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1" i="0" u="none" baseline="0">
                          <a:effectLst/>
                        </a:rPr>
                        <a:t>Cash and cash equivalents at the end of the reporting period, including:</a:t>
                      </a:r>
                      <a:endParaRPr lang="en" sz="12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260" marR="4026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1" i="0" u="none" baseline="0">
                          <a:effectLst/>
                        </a:rPr>
                        <a:t>254.5</a:t>
                      </a:r>
                      <a:endParaRPr lang="en" sz="12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260" marR="4026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1" i="0" u="none" baseline="0">
                          <a:effectLst/>
                        </a:rPr>
                        <a:t>306.0</a:t>
                      </a:r>
                      <a:endParaRPr lang="en" sz="12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260" marR="4026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30"/>
                  </a:ext>
                </a:extLst>
              </a:tr>
              <a:tr h="146662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restricted cash</a:t>
                      </a: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260" marR="4026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60.6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260" marR="4026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49.1</a:t>
                      </a: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260" marR="40260" marT="0" marB="0" anchor="ctr"/>
                </a:tc>
                <a:extLst>
                  <a:ext uri="{0D108BD9-81ED-4DB2-BD59-A6C34878D82A}">
                    <a16:rowId xmlns="" xmlns:a16="http://schemas.microsoft.com/office/drawing/2014/main" val="10031"/>
                  </a:ext>
                </a:extLst>
              </a:tr>
            </a:tbl>
          </a:graphicData>
        </a:graphic>
      </p:graphicFrame>
      <p:sp>
        <p:nvSpPr>
          <p:cNvPr id="8" name="Symbol zastępczy numeru slajdu 7"/>
          <p:cNvSpPr>
            <a:spLocks noGrp="1"/>
          </p:cNvSpPr>
          <p:nvPr>
            <p:ph type="sldNum" sz="quarter" idx="7"/>
          </p:nvPr>
        </p:nvSpPr>
        <p:spPr>
          <a:xfrm>
            <a:off x="738224" y="6743168"/>
            <a:ext cx="417195" cy="473075"/>
          </a:xfrm>
        </p:spPr>
        <p:txBody>
          <a:bodyPr vert="horz" lIns="91440" tIns="45720" rIns="91440" bIns="45720" rtlCol="0" anchor="ctr"/>
          <a:lstStyle/>
          <a:p>
            <a:pPr algn="r" rtl="0"/>
            <a:fld id="{81D60167-4931-47E6-BA6A-407CBD079E47}" type="slidenum">
              <a:rPr sz="1400">
                <a:solidFill>
                  <a:schemeClr val="tx1">
                    <a:tint val="75000"/>
                  </a:schemeClr>
                </a:solidFill>
                <a:latin typeface="Myriad Pro" panose="020B0503030403020204" pitchFamily="34" charset="0"/>
                <a:cs typeface="+mn-cs"/>
              </a:rPr>
              <a:pPr algn="r" rtl="0"/>
              <a:t>17</a:t>
            </a:fld>
            <a:endParaRPr lang="en" sz="1400" dirty="0">
              <a:solidFill>
                <a:schemeClr val="tx1">
                  <a:tint val="75000"/>
                </a:schemeClr>
              </a:solidFill>
              <a:latin typeface="Myriad Pro" panose="020B0503030403020204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39676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i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59072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274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rostokąt 9"/>
          <p:cNvSpPr/>
          <p:nvPr/>
        </p:nvSpPr>
        <p:spPr>
          <a:xfrm>
            <a:off x="735013" y="305066"/>
            <a:ext cx="461168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rtl="0"/>
            <a:r>
              <a:rPr lang="en" sz="1600" b="1" i="0" u="none" baseline="0" dirty="0">
                <a:solidFill>
                  <a:srgbClr val="015BAA"/>
                </a:solidFill>
                <a:latin typeface="Calibri" panose="020F0502020204030204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Capital expenditures in the PKP CARGO Group </a:t>
            </a:r>
            <a:endParaRPr lang="en" sz="1600" b="1" dirty="0">
              <a:solidFill>
                <a:srgbClr val="015BAA"/>
              </a:solidFill>
              <a:latin typeface="Calibri" panose="020F0502020204030204" pitchFamily="34" charset="0"/>
              <a:ea typeface="Calibri" panose="020F0502020204030204" pitchFamily="34" charset="0"/>
              <a:cs typeface="Segoe UI" panose="020B0502040204020203" pitchFamily="34" charset="0"/>
            </a:endParaRPr>
          </a:p>
        </p:txBody>
      </p:sp>
      <p:graphicFrame>
        <p:nvGraphicFramePr>
          <p:cNvPr id="6" name="Tabel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9657228"/>
              </p:ext>
            </p:extLst>
          </p:nvPr>
        </p:nvGraphicFramePr>
        <p:xfrm>
          <a:off x="735013" y="643620"/>
          <a:ext cx="8302661" cy="2903855"/>
        </p:xfrm>
        <a:graphic>
          <a:graphicData uri="http://schemas.openxmlformats.org/drawingml/2006/table">
            <a:tbl>
              <a:tblPr firstRow="1" firstCol="1" bandRow="1">
                <a:tableStyleId>{69012ECD-51FC-41F1-AA8D-1B2483CD663E}</a:tableStyleId>
              </a:tblPr>
              <a:tblGrid>
                <a:gridCol w="3507378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595423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574158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659219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595423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637953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871870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861237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</a:tblGrid>
              <a:tr h="415290">
                <a:tc>
                  <a:txBody>
                    <a:bodyPr/>
                    <a:lstStyle/>
                    <a:p>
                      <a:pPr algn="ct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00" b="1" i="0" u="none" baseline="0">
                          <a:effectLst/>
                        </a:rPr>
                        <a:t>Item</a:t>
                      </a:r>
                      <a:endParaRPr lang="en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00" b="1" i="0" u="none" baseline="0">
                          <a:effectLst/>
                        </a:rPr>
                        <a:t>2021</a:t>
                      </a:r>
                      <a:endParaRPr lang="en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00" b="1" i="0" u="none" baseline="0">
                          <a:effectLst/>
                        </a:rPr>
                        <a:t>2020</a:t>
                      </a:r>
                      <a:endParaRPr lang="en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00" b="1" i="0" u="none" baseline="0">
                          <a:effectLst/>
                        </a:rPr>
                        <a:t>2019</a:t>
                      </a:r>
                      <a:endParaRPr lang="en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00" b="1" i="0" u="none" baseline="0">
                          <a:effectLst/>
                        </a:rPr>
                        <a:t>2018</a:t>
                      </a:r>
                      <a:endParaRPr lang="en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00" b="1" i="0" u="none" baseline="0">
                          <a:effectLst/>
                        </a:rPr>
                        <a:t>2017</a:t>
                      </a:r>
                      <a:endParaRPr lang="en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00" b="1" i="0" u="none" baseline="0" dirty="0">
                          <a:effectLst/>
                        </a:rPr>
                        <a:t>Change </a:t>
                      </a:r>
                      <a:r>
                        <a:rPr lang="pl-PL" sz="1000" b="1" i="0" u="none" baseline="0" dirty="0">
                          <a:effectLst/>
                        </a:rPr>
                        <a:t/>
                      </a:r>
                      <a:br>
                        <a:rPr lang="pl-PL" sz="1000" b="1" i="0" u="none" baseline="0" dirty="0">
                          <a:effectLst/>
                        </a:rPr>
                      </a:br>
                      <a:r>
                        <a:rPr lang="en" sz="1000" b="1" i="0" u="none" baseline="0" dirty="0">
                          <a:effectLst/>
                        </a:rPr>
                        <a:t>2021-2020        </a:t>
                      </a:r>
                      <a:endParaRPr lang="en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000" b="1" i="0" u="none" baseline="0">
                          <a:effectLst/>
                        </a:rPr>
                        <a:t>Change 2021/2020 </a:t>
                      </a:r>
                      <a:r>
                        <a:rPr lang="en" sz="1000">
                          <a:effectLst/>
                        </a:rPr>
                        <a:t/>
                      </a:r>
                      <a:br>
                        <a:rPr lang="en" sz="1000">
                          <a:effectLst/>
                        </a:rPr>
                      </a:br>
                      <a:r>
                        <a:rPr lang="en" sz="1000" b="1" i="0" u="none" baseline="0">
                          <a:effectLst/>
                        </a:rPr>
                        <a:t>in %</a:t>
                      </a:r>
                      <a:endParaRPr lang="en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Investment construction activity</a:t>
                      </a: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70.5</a:t>
                      </a: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50.8</a:t>
                      </a: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39.5</a:t>
                      </a: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48.1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32.1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19.7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38.8%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67005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Purchases of locomotives</a:t>
                      </a: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0.4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33.0</a:t>
                      </a: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65.3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43.8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53.0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-32.6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-98.8%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67005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Modernization of locomotives</a:t>
                      </a: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99.4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132.0</a:t>
                      </a: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258.5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147.9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67.0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-32.6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-24.7%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67005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Purchases of wagons </a:t>
                      </a: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184.7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162.9</a:t>
                      </a: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69.9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11.1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13.3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21.8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13.4%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167005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Wagon upgrades</a:t>
                      </a: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0.0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5.6</a:t>
                      </a: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2.0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0.0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1.7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-5.6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-100.0%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252095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Workshop machinery and equipment</a:t>
                      </a: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32.2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12.0</a:t>
                      </a: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26.6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26.3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17.6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20.2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168.5%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167005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ICT development</a:t>
                      </a: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12.8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10.8</a:t>
                      </a: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14.1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16.6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16.3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2.0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18.9%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167005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Other </a:t>
                      </a: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1.5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2.5</a:t>
                      </a: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4.8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1.9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2.4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-1.0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-38.2%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167005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Components in overhaul, including: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441.3</a:t>
                      </a: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276.5</a:t>
                      </a: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632.0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598.4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358.6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164.8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59.6%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167005">
                <a:tc>
                  <a:txBody>
                    <a:bodyPr/>
                    <a:lstStyle/>
                    <a:p>
                      <a:pPr indent="107950"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1" u="none" baseline="0">
                          <a:effectLst/>
                        </a:rPr>
                        <a:t>   Repairs and periodic inspections of locomotives</a:t>
                      </a:r>
                      <a:endParaRPr lang="en" sz="1200" b="0" i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1" u="none" baseline="0">
                          <a:effectLst/>
                        </a:rPr>
                        <a:t>115.9</a:t>
                      </a:r>
                      <a:endParaRPr lang="en" sz="1200" b="0" i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1" u="none" baseline="0">
                          <a:effectLst/>
                        </a:rPr>
                        <a:t>73.7</a:t>
                      </a:r>
                      <a:endParaRPr lang="en" sz="1200" b="0" i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1" u="none" baseline="0">
                          <a:effectLst/>
                        </a:rPr>
                        <a:t>167.1</a:t>
                      </a:r>
                      <a:endParaRPr lang="en" sz="1200" b="0" i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1" u="none" baseline="0">
                          <a:effectLst/>
                        </a:rPr>
                        <a:t>171.7</a:t>
                      </a:r>
                      <a:endParaRPr lang="en" sz="1200" b="0" i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1" u="none" baseline="0">
                          <a:effectLst/>
                        </a:rPr>
                        <a:t>77.3</a:t>
                      </a:r>
                      <a:endParaRPr lang="en" sz="1200" b="0" i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1" u="none" baseline="0">
                          <a:effectLst/>
                        </a:rPr>
                        <a:t>42.2</a:t>
                      </a:r>
                      <a:endParaRPr lang="en" sz="1200" b="0" i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1" u="none" baseline="0">
                          <a:effectLst/>
                        </a:rPr>
                        <a:t>57.3%</a:t>
                      </a:r>
                      <a:endParaRPr lang="en" sz="1200" b="0" i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167005">
                <a:tc>
                  <a:txBody>
                    <a:bodyPr/>
                    <a:lstStyle/>
                    <a:p>
                      <a:pPr indent="107950"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1" u="none" baseline="0">
                          <a:effectLst/>
                        </a:rPr>
                        <a:t>   Repairs and periodic inspections of wagons</a:t>
                      </a:r>
                      <a:endParaRPr lang="en" sz="1200" b="0" i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1" u="none" baseline="0">
                          <a:effectLst/>
                        </a:rPr>
                        <a:t>325.4</a:t>
                      </a:r>
                      <a:endParaRPr lang="en" sz="1200" b="0" i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1" u="none" baseline="0">
                          <a:effectLst/>
                        </a:rPr>
                        <a:t>202.8</a:t>
                      </a:r>
                      <a:endParaRPr lang="en" sz="1200" b="0" i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1" u="none" baseline="0">
                          <a:effectLst/>
                        </a:rPr>
                        <a:t>464.9</a:t>
                      </a:r>
                      <a:endParaRPr lang="en" sz="1200" b="0" i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1" u="none" baseline="0">
                          <a:effectLst/>
                        </a:rPr>
                        <a:t>426.7</a:t>
                      </a:r>
                      <a:endParaRPr lang="en" sz="1200" b="0" i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1" u="none" baseline="0">
                          <a:effectLst/>
                        </a:rPr>
                        <a:t>281.3</a:t>
                      </a:r>
                      <a:endParaRPr lang="en" sz="1200" b="0" i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1" u="none" baseline="0">
                          <a:effectLst/>
                        </a:rPr>
                        <a:t>122.5</a:t>
                      </a:r>
                      <a:endParaRPr lang="en" sz="1200" b="0" i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1" u="none" baseline="0">
                          <a:effectLst/>
                        </a:rPr>
                        <a:t>60.4%</a:t>
                      </a:r>
                      <a:endParaRPr lang="en" sz="1200" b="0" i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175895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Right-of-use assets*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65.5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b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68.4</a:t>
                      </a: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237.6</a:t>
                      </a: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- </a:t>
                      </a:r>
                      <a:endParaRPr lang="en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- 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-2.9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0" i="0" u="none" baseline="0">
                          <a:effectLst/>
                        </a:rPr>
                        <a:t>-4.3%</a:t>
                      </a:r>
                      <a:endParaRPr lang="en" sz="12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="" xmlns:a16="http://schemas.microsoft.com/office/drawing/2014/main" val="10012"/>
                  </a:ext>
                </a:extLst>
              </a:tr>
              <a:tr h="175895">
                <a:tc>
                  <a:txBody>
                    <a:bodyPr/>
                    <a:lstStyle/>
                    <a:p>
                      <a:pPr algn="l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1" i="0" u="none" baseline="0">
                          <a:effectLst/>
                        </a:rPr>
                        <a:t>Total </a:t>
                      </a:r>
                      <a:endParaRPr lang="en" sz="12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1" i="0" u="none" baseline="0">
                          <a:effectLst/>
                        </a:rPr>
                        <a:t>908.3</a:t>
                      </a:r>
                      <a:endParaRPr lang="en" sz="12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1" i="0" u="none" baseline="0">
                          <a:effectLst/>
                        </a:rPr>
                        <a:t>754.5</a:t>
                      </a:r>
                      <a:endParaRPr lang="en" sz="12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1" i="0" u="none" baseline="0">
                          <a:effectLst/>
                        </a:rPr>
                        <a:t>1,350.3</a:t>
                      </a:r>
                      <a:endParaRPr lang="en" sz="12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1" i="0" u="none" baseline="0">
                          <a:effectLst/>
                        </a:rPr>
                        <a:t>894.1</a:t>
                      </a:r>
                      <a:endParaRPr lang="en" sz="12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1" i="0" u="none" baseline="0">
                          <a:effectLst/>
                        </a:rPr>
                        <a:t>562.0</a:t>
                      </a:r>
                      <a:endParaRPr lang="en" sz="12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1" i="0" u="none" baseline="0">
                          <a:effectLst/>
                        </a:rPr>
                        <a:t>153.8</a:t>
                      </a:r>
                      <a:endParaRPr lang="en" sz="12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r" rtl="0"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en" sz="1200" b="1" i="0" u="none" baseline="0" dirty="0">
                          <a:effectLst/>
                        </a:rPr>
                        <a:t>20.4%</a:t>
                      </a:r>
                      <a:endParaRPr lang="en" sz="12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="" xmlns:a16="http://schemas.microsoft.com/office/drawing/2014/main" val="10013"/>
                  </a:ext>
                </a:extLst>
              </a:tr>
            </a:tbl>
          </a:graphicData>
        </a:graphic>
      </p:graphicFrame>
      <p:sp>
        <p:nvSpPr>
          <p:cNvPr id="12" name="Symbol zastępczy numeru slajdu 11"/>
          <p:cNvSpPr>
            <a:spLocks noGrp="1"/>
          </p:cNvSpPr>
          <p:nvPr>
            <p:ph type="sldNum" sz="quarter" idx="7"/>
          </p:nvPr>
        </p:nvSpPr>
        <p:spPr>
          <a:xfrm>
            <a:off x="393563" y="6763813"/>
            <a:ext cx="417195" cy="473075"/>
          </a:xfrm>
        </p:spPr>
        <p:txBody>
          <a:bodyPr vert="horz" lIns="91440" tIns="45720" rIns="91440" bIns="45720" rtlCol="0" anchor="ctr"/>
          <a:lstStyle/>
          <a:p>
            <a:pPr algn="r" rtl="0"/>
            <a:fld id="{81D60167-4931-47E6-BA6A-407CBD079E47}" type="slidenum">
              <a:rPr sz="1400">
                <a:solidFill>
                  <a:schemeClr val="tx1">
                    <a:tint val="75000"/>
                  </a:schemeClr>
                </a:solidFill>
                <a:latin typeface="Myriad Pro" panose="020B0503030403020204" pitchFamily="34" charset="0"/>
                <a:cs typeface="+mn-cs"/>
              </a:rPr>
              <a:pPr algn="r" rtl="0"/>
              <a:t>18</a:t>
            </a:fld>
            <a:endParaRPr lang="en" sz="1400" dirty="0">
              <a:solidFill>
                <a:schemeClr val="tx1">
                  <a:tint val="75000"/>
                </a:schemeClr>
              </a:solidFill>
              <a:latin typeface="Myriad Pro" panose="020B0503030403020204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586976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numeru slajdu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 rtl="0"/>
            <a:fld id="{022581BA-A277-4FE5-891C-DC92D7F0A26A}" type="slidenum">
              <a:rPr/>
              <a:pPr/>
              <a:t>2</a:t>
            </a:fld>
            <a:endParaRPr lang="en" dirty="0"/>
          </a:p>
        </p:txBody>
      </p:sp>
      <p:pic>
        <p:nvPicPr>
          <p:cNvPr id="22" name="Obraz 21" descr="pkp_cargo_raport_kwartalny_ppt_2018-3.jp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1124" y="0"/>
            <a:ext cx="8851259" cy="6257446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18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object 5"/>
          <p:cNvSpPr txBox="1"/>
          <p:nvPr/>
        </p:nvSpPr>
        <p:spPr>
          <a:xfrm>
            <a:off x="334228" y="3720377"/>
            <a:ext cx="5001717" cy="1301318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00899"/>
              </a:lnSpc>
              <a:spcBef>
                <a:spcPts val="95"/>
              </a:spcBef>
            </a:pPr>
            <a:r>
              <a:rPr lang="en" sz="2750" spc="-60" dirty="0">
                <a:solidFill>
                  <a:srgbClr val="3A4D98"/>
                </a:solidFill>
                <a:latin typeface="Myriad Pro"/>
                <a:ea typeface="Myriad Pro"/>
                <a:cs typeface="Myriad Pro"/>
              </a:rPr>
              <a:t>2021 </a:t>
            </a:r>
            <a:endParaRPr lang="pl-PL" sz="2750" spc="-60" dirty="0">
              <a:solidFill>
                <a:srgbClr val="3A4D98"/>
              </a:solidFill>
              <a:latin typeface="Myriad Pro"/>
              <a:ea typeface="Myriad Pro"/>
              <a:cs typeface="Myriad Pro"/>
            </a:endParaRPr>
          </a:p>
          <a:p>
            <a:pPr marL="12700" marR="5080">
              <a:lnSpc>
                <a:spcPct val="100899"/>
              </a:lnSpc>
              <a:spcBef>
                <a:spcPts val="95"/>
              </a:spcBef>
            </a:pPr>
            <a:r>
              <a:rPr lang="en" sz="2750" spc="-60" dirty="0">
                <a:solidFill>
                  <a:srgbClr val="3A4D98"/>
                </a:solidFill>
                <a:latin typeface="Myriad Pro"/>
                <a:ea typeface="Myriad Pro"/>
                <a:cs typeface="Myriad Pro"/>
              </a:rPr>
              <a:t>Financial </a:t>
            </a:r>
            <a:r>
              <a:rPr lang="en" sz="2750" b="0" i="0" u="none" spc="-60" baseline="0" dirty="0">
                <a:solidFill>
                  <a:srgbClr val="3A4D98"/>
                </a:solidFill>
                <a:latin typeface="Myriad Pro"/>
                <a:ea typeface="Myriad Pro"/>
                <a:cs typeface="Myriad Pro"/>
              </a:rPr>
              <a:t>and operating results</a:t>
            </a:r>
          </a:p>
          <a:p>
            <a:pPr marL="12700" marR="5080" algn="l" rtl="0">
              <a:lnSpc>
                <a:spcPct val="100899"/>
              </a:lnSpc>
              <a:spcBef>
                <a:spcPts val="95"/>
              </a:spcBef>
            </a:pPr>
            <a:endParaRPr lang="en" sz="2750" b="0" i="0" u="none" spc="-60" baseline="0" dirty="0">
              <a:solidFill>
                <a:srgbClr val="3A4D98"/>
              </a:solidFill>
              <a:latin typeface="Myriad Pro"/>
              <a:ea typeface="Myriad Pro"/>
              <a:cs typeface="Myriad Pro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1559185" y="5652729"/>
            <a:ext cx="281940" cy="272415"/>
          </a:xfrm>
          <a:custGeom>
            <a:avLst/>
            <a:gdLst/>
            <a:ahLst/>
            <a:cxnLst/>
            <a:rect l="l" t="t" r="r" b="b"/>
            <a:pathLst>
              <a:path w="281939" h="272414">
                <a:moveTo>
                  <a:pt x="281863" y="171996"/>
                </a:moveTo>
                <a:lnTo>
                  <a:pt x="0" y="171996"/>
                </a:lnTo>
                <a:lnTo>
                  <a:pt x="0" y="272313"/>
                </a:lnTo>
                <a:lnTo>
                  <a:pt x="281863" y="272313"/>
                </a:lnTo>
                <a:lnTo>
                  <a:pt x="281863" y="257987"/>
                </a:lnTo>
                <a:lnTo>
                  <a:pt x="14325" y="257987"/>
                </a:lnTo>
                <a:lnTo>
                  <a:pt x="14325" y="186321"/>
                </a:lnTo>
                <a:lnTo>
                  <a:pt x="281863" y="186321"/>
                </a:lnTo>
                <a:lnTo>
                  <a:pt x="281863" y="171996"/>
                </a:lnTo>
                <a:close/>
              </a:path>
              <a:path w="281939" h="272414">
                <a:moveTo>
                  <a:pt x="28663" y="186321"/>
                </a:moveTo>
                <a:lnTo>
                  <a:pt x="19100" y="186321"/>
                </a:lnTo>
                <a:lnTo>
                  <a:pt x="19100" y="257987"/>
                </a:lnTo>
                <a:lnTo>
                  <a:pt x="28663" y="257987"/>
                </a:lnTo>
                <a:lnTo>
                  <a:pt x="28663" y="186321"/>
                </a:lnTo>
                <a:close/>
              </a:path>
              <a:path w="281939" h="272414">
                <a:moveTo>
                  <a:pt x="47764" y="186321"/>
                </a:moveTo>
                <a:lnTo>
                  <a:pt x="38214" y="186321"/>
                </a:lnTo>
                <a:lnTo>
                  <a:pt x="38214" y="257987"/>
                </a:lnTo>
                <a:lnTo>
                  <a:pt x="47764" y="257987"/>
                </a:lnTo>
                <a:lnTo>
                  <a:pt x="47764" y="186321"/>
                </a:lnTo>
                <a:close/>
              </a:path>
              <a:path w="281939" h="272414">
                <a:moveTo>
                  <a:pt x="66878" y="186321"/>
                </a:moveTo>
                <a:lnTo>
                  <a:pt x="57315" y="186321"/>
                </a:lnTo>
                <a:lnTo>
                  <a:pt x="57315" y="257987"/>
                </a:lnTo>
                <a:lnTo>
                  <a:pt x="66878" y="257987"/>
                </a:lnTo>
                <a:lnTo>
                  <a:pt x="66878" y="186321"/>
                </a:lnTo>
                <a:close/>
              </a:path>
              <a:path w="281939" h="272414">
                <a:moveTo>
                  <a:pt x="85991" y="186321"/>
                </a:moveTo>
                <a:lnTo>
                  <a:pt x="76428" y="186321"/>
                </a:lnTo>
                <a:lnTo>
                  <a:pt x="76428" y="257987"/>
                </a:lnTo>
                <a:lnTo>
                  <a:pt x="85991" y="257987"/>
                </a:lnTo>
                <a:lnTo>
                  <a:pt x="85991" y="186321"/>
                </a:lnTo>
                <a:close/>
              </a:path>
              <a:path w="281939" h="272414">
                <a:moveTo>
                  <a:pt x="105092" y="186321"/>
                </a:moveTo>
                <a:lnTo>
                  <a:pt x="95542" y="186321"/>
                </a:lnTo>
                <a:lnTo>
                  <a:pt x="95542" y="257987"/>
                </a:lnTo>
                <a:lnTo>
                  <a:pt x="105092" y="257987"/>
                </a:lnTo>
                <a:lnTo>
                  <a:pt x="105092" y="186321"/>
                </a:lnTo>
                <a:close/>
              </a:path>
              <a:path w="281939" h="272414">
                <a:moveTo>
                  <a:pt x="124206" y="186321"/>
                </a:moveTo>
                <a:lnTo>
                  <a:pt x="114642" y="186321"/>
                </a:lnTo>
                <a:lnTo>
                  <a:pt x="114642" y="257987"/>
                </a:lnTo>
                <a:lnTo>
                  <a:pt x="124206" y="257987"/>
                </a:lnTo>
                <a:lnTo>
                  <a:pt x="124206" y="186321"/>
                </a:lnTo>
                <a:close/>
              </a:path>
              <a:path w="281939" h="272414">
                <a:moveTo>
                  <a:pt x="143319" y="186321"/>
                </a:moveTo>
                <a:lnTo>
                  <a:pt x="133756" y="186321"/>
                </a:lnTo>
                <a:lnTo>
                  <a:pt x="133756" y="257987"/>
                </a:lnTo>
                <a:lnTo>
                  <a:pt x="143319" y="257987"/>
                </a:lnTo>
                <a:lnTo>
                  <a:pt x="143319" y="186321"/>
                </a:lnTo>
                <a:close/>
              </a:path>
              <a:path w="281939" h="272414">
                <a:moveTo>
                  <a:pt x="162433" y="186321"/>
                </a:moveTo>
                <a:lnTo>
                  <a:pt x="152869" y="186321"/>
                </a:lnTo>
                <a:lnTo>
                  <a:pt x="152869" y="257987"/>
                </a:lnTo>
                <a:lnTo>
                  <a:pt x="162433" y="257987"/>
                </a:lnTo>
                <a:lnTo>
                  <a:pt x="162433" y="186321"/>
                </a:lnTo>
                <a:close/>
              </a:path>
              <a:path w="281939" h="272414">
                <a:moveTo>
                  <a:pt x="181533" y="186321"/>
                </a:moveTo>
                <a:lnTo>
                  <a:pt x="171983" y="186321"/>
                </a:lnTo>
                <a:lnTo>
                  <a:pt x="171983" y="257987"/>
                </a:lnTo>
                <a:lnTo>
                  <a:pt x="181533" y="257987"/>
                </a:lnTo>
                <a:lnTo>
                  <a:pt x="181533" y="186321"/>
                </a:lnTo>
                <a:close/>
              </a:path>
              <a:path w="281939" h="272414">
                <a:moveTo>
                  <a:pt x="200647" y="186321"/>
                </a:moveTo>
                <a:lnTo>
                  <a:pt x="191084" y="186321"/>
                </a:lnTo>
                <a:lnTo>
                  <a:pt x="191084" y="257987"/>
                </a:lnTo>
                <a:lnTo>
                  <a:pt x="200647" y="257987"/>
                </a:lnTo>
                <a:lnTo>
                  <a:pt x="200647" y="186321"/>
                </a:lnTo>
                <a:close/>
              </a:path>
              <a:path w="281939" h="272414">
                <a:moveTo>
                  <a:pt x="219760" y="186321"/>
                </a:moveTo>
                <a:lnTo>
                  <a:pt x="210197" y="186321"/>
                </a:lnTo>
                <a:lnTo>
                  <a:pt x="210197" y="257987"/>
                </a:lnTo>
                <a:lnTo>
                  <a:pt x="219760" y="257987"/>
                </a:lnTo>
                <a:lnTo>
                  <a:pt x="219760" y="186321"/>
                </a:lnTo>
                <a:close/>
              </a:path>
              <a:path w="281939" h="272414">
                <a:moveTo>
                  <a:pt x="238874" y="186321"/>
                </a:moveTo>
                <a:lnTo>
                  <a:pt x="229311" y="186321"/>
                </a:lnTo>
                <a:lnTo>
                  <a:pt x="229311" y="257987"/>
                </a:lnTo>
                <a:lnTo>
                  <a:pt x="238874" y="257987"/>
                </a:lnTo>
                <a:lnTo>
                  <a:pt x="238874" y="186321"/>
                </a:lnTo>
                <a:close/>
              </a:path>
              <a:path w="281939" h="272414">
                <a:moveTo>
                  <a:pt x="257987" y="186321"/>
                </a:moveTo>
                <a:lnTo>
                  <a:pt x="248424" y="186321"/>
                </a:lnTo>
                <a:lnTo>
                  <a:pt x="248424" y="257987"/>
                </a:lnTo>
                <a:lnTo>
                  <a:pt x="257987" y="257987"/>
                </a:lnTo>
                <a:lnTo>
                  <a:pt x="257987" y="186321"/>
                </a:lnTo>
                <a:close/>
              </a:path>
              <a:path w="281939" h="272414">
                <a:moveTo>
                  <a:pt x="281863" y="186321"/>
                </a:moveTo>
                <a:lnTo>
                  <a:pt x="267538" y="186321"/>
                </a:lnTo>
                <a:lnTo>
                  <a:pt x="267538" y="257987"/>
                </a:lnTo>
                <a:lnTo>
                  <a:pt x="281863" y="257987"/>
                </a:lnTo>
                <a:lnTo>
                  <a:pt x="281863" y="186321"/>
                </a:lnTo>
                <a:close/>
              </a:path>
              <a:path w="281939" h="272414">
                <a:moveTo>
                  <a:pt x="138544" y="57327"/>
                </a:moveTo>
                <a:lnTo>
                  <a:pt x="128981" y="57327"/>
                </a:lnTo>
                <a:lnTo>
                  <a:pt x="128981" y="67437"/>
                </a:lnTo>
                <a:lnTo>
                  <a:pt x="124688" y="69392"/>
                </a:lnTo>
                <a:lnTo>
                  <a:pt x="119913" y="73583"/>
                </a:lnTo>
                <a:lnTo>
                  <a:pt x="119913" y="86436"/>
                </a:lnTo>
                <a:lnTo>
                  <a:pt x="122085" y="90233"/>
                </a:lnTo>
                <a:lnTo>
                  <a:pt x="125222" y="92697"/>
                </a:lnTo>
                <a:lnTo>
                  <a:pt x="41490" y="171996"/>
                </a:lnTo>
                <a:lnTo>
                  <a:pt x="48437" y="171996"/>
                </a:lnTo>
                <a:lnTo>
                  <a:pt x="129628" y="95097"/>
                </a:lnTo>
                <a:lnTo>
                  <a:pt x="140771" y="95097"/>
                </a:lnTo>
                <a:lnTo>
                  <a:pt x="141465" y="94767"/>
                </a:lnTo>
                <a:lnTo>
                  <a:pt x="148594" y="94767"/>
                </a:lnTo>
                <a:lnTo>
                  <a:pt x="145376" y="91859"/>
                </a:lnTo>
                <a:lnTo>
                  <a:pt x="147535" y="89484"/>
                </a:lnTo>
                <a:lnTo>
                  <a:pt x="148877" y="86436"/>
                </a:lnTo>
                <a:lnTo>
                  <a:pt x="148983" y="85991"/>
                </a:lnTo>
                <a:lnTo>
                  <a:pt x="132295" y="85991"/>
                </a:lnTo>
                <a:lnTo>
                  <a:pt x="130695" y="85293"/>
                </a:lnTo>
                <a:lnTo>
                  <a:pt x="129463" y="83870"/>
                </a:lnTo>
                <a:lnTo>
                  <a:pt x="129463" y="76809"/>
                </a:lnTo>
                <a:lnTo>
                  <a:pt x="133743" y="75755"/>
                </a:lnTo>
                <a:lnTo>
                  <a:pt x="136855" y="75209"/>
                </a:lnTo>
                <a:lnTo>
                  <a:pt x="138544" y="73228"/>
                </a:lnTo>
                <a:lnTo>
                  <a:pt x="138544" y="57327"/>
                </a:lnTo>
                <a:close/>
              </a:path>
              <a:path w="281939" h="272414">
                <a:moveTo>
                  <a:pt x="148594" y="94767"/>
                </a:moveTo>
                <a:lnTo>
                  <a:pt x="141465" y="94767"/>
                </a:lnTo>
                <a:lnTo>
                  <a:pt x="226898" y="171996"/>
                </a:lnTo>
                <a:lnTo>
                  <a:pt x="234022" y="171996"/>
                </a:lnTo>
                <a:lnTo>
                  <a:pt x="148594" y="94767"/>
                </a:lnTo>
                <a:close/>
              </a:path>
              <a:path w="281939" h="272414">
                <a:moveTo>
                  <a:pt x="140771" y="95097"/>
                </a:moveTo>
                <a:lnTo>
                  <a:pt x="129628" y="95097"/>
                </a:lnTo>
                <a:lnTo>
                  <a:pt x="131559" y="95783"/>
                </a:lnTo>
                <a:lnTo>
                  <a:pt x="133604" y="96151"/>
                </a:lnTo>
                <a:lnTo>
                  <a:pt x="137629" y="96151"/>
                </a:lnTo>
                <a:lnTo>
                  <a:pt x="139623" y="95643"/>
                </a:lnTo>
                <a:lnTo>
                  <a:pt x="140771" y="95097"/>
                </a:lnTo>
                <a:close/>
              </a:path>
              <a:path w="281939" h="272414">
                <a:moveTo>
                  <a:pt x="136232" y="83591"/>
                </a:moveTo>
                <a:lnTo>
                  <a:pt x="134810" y="83604"/>
                </a:lnTo>
                <a:lnTo>
                  <a:pt x="132295" y="85991"/>
                </a:lnTo>
                <a:lnTo>
                  <a:pt x="148983" y="85991"/>
                </a:lnTo>
                <a:lnTo>
                  <a:pt x="148983" y="85458"/>
                </a:lnTo>
                <a:lnTo>
                  <a:pt x="138303" y="85458"/>
                </a:lnTo>
                <a:lnTo>
                  <a:pt x="136232" y="83591"/>
                </a:lnTo>
                <a:close/>
              </a:path>
              <a:path w="281939" h="272414">
                <a:moveTo>
                  <a:pt x="146850" y="77139"/>
                </a:moveTo>
                <a:lnTo>
                  <a:pt x="141579" y="77139"/>
                </a:lnTo>
                <a:lnTo>
                  <a:pt x="139433" y="79286"/>
                </a:lnTo>
                <a:lnTo>
                  <a:pt x="139351" y="83870"/>
                </a:lnTo>
                <a:lnTo>
                  <a:pt x="138938" y="84772"/>
                </a:lnTo>
                <a:lnTo>
                  <a:pt x="138303" y="85458"/>
                </a:lnTo>
                <a:lnTo>
                  <a:pt x="148983" y="85458"/>
                </a:lnTo>
                <a:lnTo>
                  <a:pt x="148983" y="79286"/>
                </a:lnTo>
                <a:lnTo>
                  <a:pt x="146850" y="77139"/>
                </a:lnTo>
                <a:close/>
              </a:path>
              <a:path w="281939" h="272414">
                <a:moveTo>
                  <a:pt x="150533" y="23888"/>
                </a:moveTo>
                <a:lnTo>
                  <a:pt x="121932" y="23888"/>
                </a:lnTo>
                <a:lnTo>
                  <a:pt x="126669" y="57327"/>
                </a:lnTo>
                <a:lnTo>
                  <a:pt x="143840" y="57327"/>
                </a:lnTo>
                <a:lnTo>
                  <a:pt x="150533" y="23888"/>
                </a:lnTo>
                <a:close/>
              </a:path>
              <a:path w="281939" h="272414">
                <a:moveTo>
                  <a:pt x="133769" y="0"/>
                </a:moveTo>
                <a:lnTo>
                  <a:pt x="128981" y="0"/>
                </a:lnTo>
                <a:lnTo>
                  <a:pt x="128981" y="23888"/>
                </a:lnTo>
                <a:lnTo>
                  <a:pt x="133769" y="23888"/>
                </a:lnTo>
                <a:lnTo>
                  <a:pt x="133769" y="0"/>
                </a:lnTo>
                <a:close/>
              </a:path>
              <a:path w="281939" h="272414">
                <a:moveTo>
                  <a:pt x="143319" y="0"/>
                </a:moveTo>
                <a:lnTo>
                  <a:pt x="138544" y="0"/>
                </a:lnTo>
                <a:lnTo>
                  <a:pt x="138544" y="23888"/>
                </a:lnTo>
                <a:lnTo>
                  <a:pt x="143319" y="23888"/>
                </a:lnTo>
                <a:lnTo>
                  <a:pt x="143319" y="0"/>
                </a:lnTo>
                <a:close/>
              </a:path>
            </a:pathLst>
          </a:custGeom>
          <a:solidFill>
            <a:srgbClr val="565658"/>
          </a:solid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grpSp>
        <p:nvGrpSpPr>
          <p:cNvPr id="20" name="Grupa 19"/>
          <p:cNvGrpSpPr/>
          <p:nvPr/>
        </p:nvGrpSpPr>
        <p:grpSpPr>
          <a:xfrm>
            <a:off x="488086" y="5697439"/>
            <a:ext cx="311150" cy="227965"/>
            <a:chOff x="488086" y="5697439"/>
            <a:chExt cx="311150" cy="227965"/>
          </a:xfrm>
        </p:grpSpPr>
        <p:sp>
          <p:nvSpPr>
            <p:cNvPr id="13" name="object 13"/>
            <p:cNvSpPr/>
            <p:nvPr/>
          </p:nvSpPr>
          <p:spPr>
            <a:xfrm>
              <a:off x="488086" y="5697439"/>
              <a:ext cx="311150" cy="227965"/>
            </a:xfrm>
            <a:custGeom>
              <a:avLst/>
              <a:gdLst/>
              <a:ahLst/>
              <a:cxnLst/>
              <a:rect l="l" t="t" r="r" b="b"/>
              <a:pathLst>
                <a:path w="311150" h="227964">
                  <a:moveTo>
                    <a:pt x="26149" y="206921"/>
                  </a:moveTo>
                  <a:lnTo>
                    <a:pt x="15239" y="206921"/>
                  </a:lnTo>
                  <a:lnTo>
                    <a:pt x="21666" y="226187"/>
                  </a:lnTo>
                  <a:lnTo>
                    <a:pt x="23647" y="227609"/>
                  </a:lnTo>
                  <a:lnTo>
                    <a:pt x="286740" y="227609"/>
                  </a:lnTo>
                  <a:lnTo>
                    <a:pt x="288721" y="226187"/>
                  </a:lnTo>
                  <a:lnTo>
                    <a:pt x="291693" y="217258"/>
                  </a:lnTo>
                  <a:lnTo>
                    <a:pt x="29603" y="217258"/>
                  </a:lnTo>
                  <a:lnTo>
                    <a:pt x="26149" y="206921"/>
                  </a:lnTo>
                  <a:close/>
                </a:path>
                <a:path w="311150" h="227964">
                  <a:moveTo>
                    <a:pt x="295135" y="206921"/>
                  </a:moveTo>
                  <a:lnTo>
                    <a:pt x="284238" y="206921"/>
                  </a:lnTo>
                  <a:lnTo>
                    <a:pt x="280784" y="217258"/>
                  </a:lnTo>
                  <a:lnTo>
                    <a:pt x="291693" y="217258"/>
                  </a:lnTo>
                  <a:lnTo>
                    <a:pt x="295135" y="206921"/>
                  </a:lnTo>
                  <a:close/>
                </a:path>
                <a:path w="311150" h="227964">
                  <a:moveTo>
                    <a:pt x="308063" y="196570"/>
                  </a:moveTo>
                  <a:lnTo>
                    <a:pt x="2324" y="196570"/>
                  </a:lnTo>
                  <a:lnTo>
                    <a:pt x="0" y="198882"/>
                  </a:lnTo>
                  <a:lnTo>
                    <a:pt x="0" y="204597"/>
                  </a:lnTo>
                  <a:lnTo>
                    <a:pt x="2324" y="206921"/>
                  </a:lnTo>
                  <a:lnTo>
                    <a:pt x="308063" y="206921"/>
                  </a:lnTo>
                  <a:lnTo>
                    <a:pt x="310375" y="204597"/>
                  </a:lnTo>
                  <a:lnTo>
                    <a:pt x="310375" y="198882"/>
                  </a:lnTo>
                  <a:lnTo>
                    <a:pt x="308063" y="196570"/>
                  </a:lnTo>
                  <a:close/>
                </a:path>
                <a:path w="311150" h="227964">
                  <a:moveTo>
                    <a:pt x="282206" y="103454"/>
                  </a:moveTo>
                  <a:lnTo>
                    <a:pt x="152336" y="103454"/>
                  </a:lnTo>
                  <a:lnTo>
                    <a:pt x="150025" y="105778"/>
                  </a:lnTo>
                  <a:lnTo>
                    <a:pt x="150025" y="155181"/>
                  </a:lnTo>
                  <a:lnTo>
                    <a:pt x="2324" y="155181"/>
                  </a:lnTo>
                  <a:lnTo>
                    <a:pt x="12" y="157505"/>
                  </a:lnTo>
                  <a:lnTo>
                    <a:pt x="101" y="161467"/>
                  </a:lnTo>
                  <a:lnTo>
                    <a:pt x="11798" y="196570"/>
                  </a:lnTo>
                  <a:lnTo>
                    <a:pt x="22694" y="196570"/>
                  </a:lnTo>
                  <a:lnTo>
                    <a:pt x="12357" y="165531"/>
                  </a:lnTo>
                  <a:lnTo>
                    <a:pt x="308939" y="165531"/>
                  </a:lnTo>
                  <a:lnTo>
                    <a:pt x="311022" y="159283"/>
                  </a:lnTo>
                  <a:lnTo>
                    <a:pt x="309549" y="156362"/>
                  </a:lnTo>
                  <a:lnTo>
                    <a:pt x="306323" y="155282"/>
                  </a:lnTo>
                  <a:lnTo>
                    <a:pt x="305835" y="155194"/>
                  </a:lnTo>
                  <a:lnTo>
                    <a:pt x="160362" y="155194"/>
                  </a:lnTo>
                  <a:lnTo>
                    <a:pt x="160362" y="113804"/>
                  </a:lnTo>
                  <a:lnTo>
                    <a:pt x="181051" y="113804"/>
                  </a:lnTo>
                  <a:lnTo>
                    <a:pt x="284518" y="113792"/>
                  </a:lnTo>
                  <a:lnTo>
                    <a:pt x="284518" y="105778"/>
                  </a:lnTo>
                  <a:lnTo>
                    <a:pt x="282206" y="103454"/>
                  </a:lnTo>
                  <a:close/>
                </a:path>
                <a:path w="311150" h="227964">
                  <a:moveTo>
                    <a:pt x="308939" y="165531"/>
                  </a:moveTo>
                  <a:lnTo>
                    <a:pt x="298030" y="165531"/>
                  </a:lnTo>
                  <a:lnTo>
                    <a:pt x="287680" y="196570"/>
                  </a:lnTo>
                  <a:lnTo>
                    <a:pt x="298589" y="196570"/>
                  </a:lnTo>
                  <a:lnTo>
                    <a:pt x="308939" y="165531"/>
                  </a:lnTo>
                  <a:close/>
                </a:path>
                <a:path w="311150" h="227964">
                  <a:moveTo>
                    <a:pt x="181051" y="113804"/>
                  </a:moveTo>
                  <a:lnTo>
                    <a:pt x="170713" y="113804"/>
                  </a:lnTo>
                  <a:lnTo>
                    <a:pt x="170713" y="155194"/>
                  </a:lnTo>
                  <a:lnTo>
                    <a:pt x="243128" y="155194"/>
                  </a:lnTo>
                  <a:lnTo>
                    <a:pt x="181051" y="155181"/>
                  </a:lnTo>
                  <a:lnTo>
                    <a:pt x="181051" y="113804"/>
                  </a:lnTo>
                  <a:close/>
                </a:path>
                <a:path w="311150" h="227964">
                  <a:moveTo>
                    <a:pt x="263817" y="113804"/>
                  </a:moveTo>
                  <a:lnTo>
                    <a:pt x="253479" y="113804"/>
                  </a:lnTo>
                  <a:lnTo>
                    <a:pt x="253479" y="155194"/>
                  </a:lnTo>
                  <a:lnTo>
                    <a:pt x="263817" y="155194"/>
                  </a:lnTo>
                  <a:lnTo>
                    <a:pt x="263817" y="113804"/>
                  </a:lnTo>
                  <a:close/>
                </a:path>
                <a:path w="311150" h="227964">
                  <a:moveTo>
                    <a:pt x="284518" y="113804"/>
                  </a:moveTo>
                  <a:lnTo>
                    <a:pt x="274167" y="113804"/>
                  </a:lnTo>
                  <a:lnTo>
                    <a:pt x="274167" y="155194"/>
                  </a:lnTo>
                  <a:lnTo>
                    <a:pt x="305835" y="155194"/>
                  </a:lnTo>
                  <a:lnTo>
                    <a:pt x="284518" y="155181"/>
                  </a:lnTo>
                  <a:lnTo>
                    <a:pt x="284518" y="113804"/>
                  </a:lnTo>
                  <a:close/>
                </a:path>
                <a:path w="311150" h="227964">
                  <a:moveTo>
                    <a:pt x="127012" y="62077"/>
                  </a:moveTo>
                  <a:lnTo>
                    <a:pt x="38531" y="62077"/>
                  </a:lnTo>
                  <a:lnTo>
                    <a:pt x="36220" y="64389"/>
                  </a:lnTo>
                  <a:lnTo>
                    <a:pt x="36220" y="155181"/>
                  </a:lnTo>
                  <a:lnTo>
                    <a:pt x="46558" y="155181"/>
                  </a:lnTo>
                  <a:lnTo>
                    <a:pt x="46558" y="72415"/>
                  </a:lnTo>
                  <a:lnTo>
                    <a:pt x="129324" y="72415"/>
                  </a:lnTo>
                  <a:lnTo>
                    <a:pt x="129324" y="64389"/>
                  </a:lnTo>
                  <a:lnTo>
                    <a:pt x="127012" y="62077"/>
                  </a:lnTo>
                  <a:close/>
                </a:path>
                <a:path w="311150" h="227964">
                  <a:moveTo>
                    <a:pt x="129324" y="72415"/>
                  </a:moveTo>
                  <a:lnTo>
                    <a:pt x="118986" y="72415"/>
                  </a:lnTo>
                  <a:lnTo>
                    <a:pt x="118986" y="82765"/>
                  </a:lnTo>
                  <a:lnTo>
                    <a:pt x="69570" y="82765"/>
                  </a:lnTo>
                  <a:lnTo>
                    <a:pt x="67259" y="85077"/>
                  </a:lnTo>
                  <a:lnTo>
                    <a:pt x="67246" y="111493"/>
                  </a:lnTo>
                  <a:lnTo>
                    <a:pt x="69570" y="113804"/>
                  </a:lnTo>
                  <a:lnTo>
                    <a:pt x="118986" y="113804"/>
                  </a:lnTo>
                  <a:lnTo>
                    <a:pt x="118986" y="155181"/>
                  </a:lnTo>
                  <a:lnTo>
                    <a:pt x="129324" y="155181"/>
                  </a:lnTo>
                  <a:lnTo>
                    <a:pt x="129324" y="103454"/>
                  </a:lnTo>
                  <a:lnTo>
                    <a:pt x="77596" y="103454"/>
                  </a:lnTo>
                  <a:lnTo>
                    <a:pt x="77596" y="93103"/>
                  </a:lnTo>
                  <a:lnTo>
                    <a:pt x="129324" y="93103"/>
                  </a:lnTo>
                  <a:lnTo>
                    <a:pt x="129324" y="72415"/>
                  </a:lnTo>
                  <a:close/>
                </a:path>
                <a:path w="311150" h="227964">
                  <a:moveTo>
                    <a:pt x="201739" y="113792"/>
                  </a:moveTo>
                  <a:lnTo>
                    <a:pt x="191401" y="113792"/>
                  </a:lnTo>
                  <a:lnTo>
                    <a:pt x="191401" y="155181"/>
                  </a:lnTo>
                  <a:lnTo>
                    <a:pt x="201739" y="155181"/>
                  </a:lnTo>
                  <a:lnTo>
                    <a:pt x="201739" y="113792"/>
                  </a:lnTo>
                  <a:close/>
                </a:path>
                <a:path w="311150" h="227964">
                  <a:moveTo>
                    <a:pt x="222440" y="113792"/>
                  </a:moveTo>
                  <a:lnTo>
                    <a:pt x="212089" y="113792"/>
                  </a:lnTo>
                  <a:lnTo>
                    <a:pt x="212089" y="155181"/>
                  </a:lnTo>
                  <a:lnTo>
                    <a:pt x="222440" y="155181"/>
                  </a:lnTo>
                  <a:lnTo>
                    <a:pt x="222440" y="113792"/>
                  </a:lnTo>
                  <a:close/>
                </a:path>
                <a:path w="311150" h="227964">
                  <a:moveTo>
                    <a:pt x="284518" y="113792"/>
                  </a:moveTo>
                  <a:lnTo>
                    <a:pt x="232790" y="113792"/>
                  </a:lnTo>
                  <a:lnTo>
                    <a:pt x="232790" y="155181"/>
                  </a:lnTo>
                  <a:lnTo>
                    <a:pt x="243128" y="155181"/>
                  </a:lnTo>
                  <a:lnTo>
                    <a:pt x="243128" y="113804"/>
                  </a:lnTo>
                  <a:lnTo>
                    <a:pt x="284518" y="113804"/>
                  </a:lnTo>
                  <a:close/>
                </a:path>
                <a:path w="311150" h="227964">
                  <a:moveTo>
                    <a:pt x="129324" y="93103"/>
                  </a:moveTo>
                  <a:lnTo>
                    <a:pt x="118986" y="93103"/>
                  </a:lnTo>
                  <a:lnTo>
                    <a:pt x="118986" y="103454"/>
                  </a:lnTo>
                  <a:lnTo>
                    <a:pt x="129324" y="103454"/>
                  </a:lnTo>
                  <a:lnTo>
                    <a:pt x="129324" y="93103"/>
                  </a:lnTo>
                  <a:close/>
                </a:path>
                <a:path w="311150" h="227964">
                  <a:moveTo>
                    <a:pt x="240817" y="62077"/>
                  </a:moveTo>
                  <a:lnTo>
                    <a:pt x="162686" y="62077"/>
                  </a:lnTo>
                  <a:lnTo>
                    <a:pt x="160362" y="64389"/>
                  </a:lnTo>
                  <a:lnTo>
                    <a:pt x="160362" y="103454"/>
                  </a:lnTo>
                  <a:lnTo>
                    <a:pt x="170713" y="103454"/>
                  </a:lnTo>
                  <a:lnTo>
                    <a:pt x="170713" y="72415"/>
                  </a:lnTo>
                  <a:lnTo>
                    <a:pt x="243128" y="72415"/>
                  </a:lnTo>
                  <a:lnTo>
                    <a:pt x="243128" y="64389"/>
                  </a:lnTo>
                  <a:lnTo>
                    <a:pt x="240817" y="62077"/>
                  </a:lnTo>
                  <a:close/>
                </a:path>
                <a:path w="311150" h="227964">
                  <a:moveTo>
                    <a:pt x="243128" y="72415"/>
                  </a:moveTo>
                  <a:lnTo>
                    <a:pt x="232790" y="72415"/>
                  </a:lnTo>
                  <a:lnTo>
                    <a:pt x="232790" y="103454"/>
                  </a:lnTo>
                  <a:lnTo>
                    <a:pt x="243128" y="103454"/>
                  </a:lnTo>
                  <a:lnTo>
                    <a:pt x="243128" y="72415"/>
                  </a:lnTo>
                  <a:close/>
                </a:path>
                <a:path w="311150" h="227964">
                  <a:moveTo>
                    <a:pt x="77596" y="10350"/>
                  </a:moveTo>
                  <a:lnTo>
                    <a:pt x="33362" y="10350"/>
                  </a:lnTo>
                  <a:lnTo>
                    <a:pt x="31038" y="12661"/>
                  </a:lnTo>
                  <a:lnTo>
                    <a:pt x="31038" y="39065"/>
                  </a:lnTo>
                  <a:lnTo>
                    <a:pt x="33350" y="41376"/>
                  </a:lnTo>
                  <a:lnTo>
                    <a:pt x="36207" y="41389"/>
                  </a:lnTo>
                  <a:lnTo>
                    <a:pt x="67246" y="41389"/>
                  </a:lnTo>
                  <a:lnTo>
                    <a:pt x="67246" y="62077"/>
                  </a:lnTo>
                  <a:lnTo>
                    <a:pt x="77596" y="62077"/>
                  </a:lnTo>
                  <a:lnTo>
                    <a:pt x="77596" y="31038"/>
                  </a:lnTo>
                  <a:lnTo>
                    <a:pt x="41389" y="31038"/>
                  </a:lnTo>
                  <a:lnTo>
                    <a:pt x="41389" y="20688"/>
                  </a:lnTo>
                  <a:lnTo>
                    <a:pt x="77596" y="20688"/>
                  </a:lnTo>
                  <a:lnTo>
                    <a:pt x="77596" y="10350"/>
                  </a:lnTo>
                  <a:close/>
                </a:path>
                <a:path w="311150" h="227964">
                  <a:moveTo>
                    <a:pt x="132181" y="10350"/>
                  </a:moveTo>
                  <a:lnTo>
                    <a:pt x="87947" y="10350"/>
                  </a:lnTo>
                  <a:lnTo>
                    <a:pt x="87947" y="62077"/>
                  </a:lnTo>
                  <a:lnTo>
                    <a:pt x="98285" y="62077"/>
                  </a:lnTo>
                  <a:lnTo>
                    <a:pt x="98285" y="41389"/>
                  </a:lnTo>
                  <a:lnTo>
                    <a:pt x="132194" y="41376"/>
                  </a:lnTo>
                  <a:lnTo>
                    <a:pt x="134505" y="39065"/>
                  </a:lnTo>
                  <a:lnTo>
                    <a:pt x="134505" y="31038"/>
                  </a:lnTo>
                  <a:lnTo>
                    <a:pt x="98285" y="31038"/>
                  </a:lnTo>
                  <a:lnTo>
                    <a:pt x="98285" y="20688"/>
                  </a:lnTo>
                  <a:lnTo>
                    <a:pt x="134505" y="20688"/>
                  </a:lnTo>
                  <a:lnTo>
                    <a:pt x="134505" y="12661"/>
                  </a:lnTo>
                  <a:lnTo>
                    <a:pt x="132181" y="10350"/>
                  </a:lnTo>
                  <a:close/>
                </a:path>
                <a:path w="311150" h="227964">
                  <a:moveTo>
                    <a:pt x="189090" y="20688"/>
                  </a:moveTo>
                  <a:lnTo>
                    <a:pt x="124155" y="20688"/>
                  </a:lnTo>
                  <a:lnTo>
                    <a:pt x="124155" y="31038"/>
                  </a:lnTo>
                  <a:lnTo>
                    <a:pt x="181051" y="31038"/>
                  </a:lnTo>
                  <a:lnTo>
                    <a:pt x="181051" y="49415"/>
                  </a:lnTo>
                  <a:lnTo>
                    <a:pt x="183375" y="51727"/>
                  </a:lnTo>
                  <a:lnTo>
                    <a:pt x="189090" y="51727"/>
                  </a:lnTo>
                  <a:lnTo>
                    <a:pt x="191401" y="49415"/>
                  </a:lnTo>
                  <a:lnTo>
                    <a:pt x="191401" y="23012"/>
                  </a:lnTo>
                  <a:lnTo>
                    <a:pt x="189090" y="20688"/>
                  </a:lnTo>
                  <a:close/>
                </a:path>
                <a:path w="311150" h="227964">
                  <a:moveTo>
                    <a:pt x="77596" y="20688"/>
                  </a:moveTo>
                  <a:lnTo>
                    <a:pt x="67259" y="20688"/>
                  </a:lnTo>
                  <a:lnTo>
                    <a:pt x="67259" y="31038"/>
                  </a:lnTo>
                  <a:lnTo>
                    <a:pt x="77596" y="31038"/>
                  </a:lnTo>
                  <a:lnTo>
                    <a:pt x="77596" y="20688"/>
                  </a:lnTo>
                  <a:close/>
                </a:path>
                <a:path w="311150" h="227964">
                  <a:moveTo>
                    <a:pt x="95973" y="0"/>
                  </a:moveTo>
                  <a:lnTo>
                    <a:pt x="69570" y="0"/>
                  </a:lnTo>
                  <a:lnTo>
                    <a:pt x="67259" y="2311"/>
                  </a:lnTo>
                  <a:lnTo>
                    <a:pt x="67246" y="10350"/>
                  </a:lnTo>
                  <a:lnTo>
                    <a:pt x="98285" y="10350"/>
                  </a:lnTo>
                  <a:lnTo>
                    <a:pt x="98285" y="2311"/>
                  </a:lnTo>
                  <a:lnTo>
                    <a:pt x="95973" y="0"/>
                  </a:lnTo>
                  <a:close/>
                </a:path>
              </a:pathLst>
            </a:custGeom>
            <a:solidFill>
              <a:srgbClr val="565658"/>
            </a:solidFill>
          </p:spPr>
          <p:txBody>
            <a:bodyPr wrap="square" lIns="0" tIns="0" rIns="0" bIns="0" rtlCol="0"/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15" name="object 15"/>
            <p:cNvSpPr/>
            <p:nvPr/>
          </p:nvSpPr>
          <p:spPr>
            <a:xfrm>
              <a:off x="544992" y="5821590"/>
              <a:ext cx="20955" cy="10795"/>
            </a:xfrm>
            <a:custGeom>
              <a:avLst/>
              <a:gdLst/>
              <a:ahLst/>
              <a:cxnLst/>
              <a:rect l="l" t="t" r="r" b="b"/>
              <a:pathLst>
                <a:path w="20954" h="10795">
                  <a:moveTo>
                    <a:pt x="18376" y="0"/>
                  </a:moveTo>
                  <a:lnTo>
                    <a:pt x="2311" y="0"/>
                  </a:lnTo>
                  <a:lnTo>
                    <a:pt x="0" y="2311"/>
                  </a:lnTo>
                  <a:lnTo>
                    <a:pt x="0" y="8026"/>
                  </a:lnTo>
                  <a:lnTo>
                    <a:pt x="2311" y="10350"/>
                  </a:lnTo>
                  <a:lnTo>
                    <a:pt x="18376" y="10350"/>
                  </a:lnTo>
                  <a:lnTo>
                    <a:pt x="20688" y="8026"/>
                  </a:lnTo>
                  <a:lnTo>
                    <a:pt x="20688" y="2311"/>
                  </a:lnTo>
                  <a:lnTo>
                    <a:pt x="18376" y="0"/>
                  </a:lnTo>
                  <a:close/>
                </a:path>
              </a:pathLst>
            </a:custGeom>
            <a:solidFill>
              <a:srgbClr val="565658"/>
            </a:solidFill>
          </p:spPr>
          <p:txBody>
            <a:bodyPr wrap="square" lIns="0" tIns="0" rIns="0" bIns="0" rtlCol="0"/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14" name="object 14"/>
            <p:cNvSpPr/>
            <p:nvPr/>
          </p:nvSpPr>
          <p:spPr>
            <a:xfrm>
              <a:off x="576030" y="5821590"/>
              <a:ext cx="20955" cy="10795"/>
            </a:xfrm>
            <a:custGeom>
              <a:avLst/>
              <a:gdLst/>
              <a:ahLst/>
              <a:cxnLst/>
              <a:rect l="l" t="t" r="r" b="b"/>
              <a:pathLst>
                <a:path w="20954" h="10795">
                  <a:moveTo>
                    <a:pt x="18376" y="0"/>
                  </a:moveTo>
                  <a:lnTo>
                    <a:pt x="2311" y="0"/>
                  </a:lnTo>
                  <a:lnTo>
                    <a:pt x="0" y="2311"/>
                  </a:lnTo>
                  <a:lnTo>
                    <a:pt x="0" y="8026"/>
                  </a:lnTo>
                  <a:lnTo>
                    <a:pt x="2311" y="10350"/>
                  </a:lnTo>
                  <a:lnTo>
                    <a:pt x="18376" y="10350"/>
                  </a:lnTo>
                  <a:lnTo>
                    <a:pt x="20688" y="8026"/>
                  </a:lnTo>
                  <a:lnTo>
                    <a:pt x="20688" y="2311"/>
                  </a:lnTo>
                  <a:lnTo>
                    <a:pt x="18376" y="0"/>
                  </a:lnTo>
                  <a:close/>
                </a:path>
              </a:pathLst>
            </a:custGeom>
            <a:solidFill>
              <a:srgbClr val="565658"/>
            </a:solidFill>
          </p:spPr>
          <p:txBody>
            <a:bodyPr wrap="square" lIns="0" tIns="0" rIns="0" bIns="0" rtlCol="0"/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  <p:sp>
        <p:nvSpPr>
          <p:cNvPr id="7" name="object 7"/>
          <p:cNvSpPr/>
          <p:nvPr/>
        </p:nvSpPr>
        <p:spPr>
          <a:xfrm>
            <a:off x="2091702" y="5720803"/>
            <a:ext cx="245101" cy="204241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grpSp>
        <p:nvGrpSpPr>
          <p:cNvPr id="21" name="Grupa 20"/>
          <p:cNvGrpSpPr/>
          <p:nvPr/>
        </p:nvGrpSpPr>
        <p:grpSpPr>
          <a:xfrm>
            <a:off x="1033344" y="5745607"/>
            <a:ext cx="291465" cy="179070"/>
            <a:chOff x="1033344" y="5745607"/>
            <a:chExt cx="291465" cy="179070"/>
          </a:xfrm>
        </p:grpSpPr>
        <p:sp>
          <p:nvSpPr>
            <p:cNvPr id="11" name="object 11"/>
            <p:cNvSpPr/>
            <p:nvPr/>
          </p:nvSpPr>
          <p:spPr>
            <a:xfrm>
              <a:off x="1033344" y="5745607"/>
              <a:ext cx="291465" cy="179070"/>
            </a:xfrm>
            <a:custGeom>
              <a:avLst/>
              <a:gdLst/>
              <a:ahLst/>
              <a:cxnLst/>
              <a:rect l="l" t="t" r="r" b="b"/>
              <a:pathLst>
                <a:path w="291465" h="179070">
                  <a:moveTo>
                    <a:pt x="182105" y="0"/>
                  </a:moveTo>
                  <a:lnTo>
                    <a:pt x="2171" y="0"/>
                  </a:lnTo>
                  <a:lnTo>
                    <a:pt x="0" y="2171"/>
                  </a:lnTo>
                  <a:lnTo>
                    <a:pt x="0" y="157873"/>
                  </a:lnTo>
                  <a:lnTo>
                    <a:pt x="2158" y="160032"/>
                  </a:lnTo>
                  <a:lnTo>
                    <a:pt x="19875" y="160032"/>
                  </a:lnTo>
                  <a:lnTo>
                    <a:pt x="23631" y="168898"/>
                  </a:lnTo>
                  <a:lnTo>
                    <a:pt x="30267" y="175412"/>
                  </a:lnTo>
                  <a:lnTo>
                    <a:pt x="38860" y="178963"/>
                  </a:lnTo>
                  <a:lnTo>
                    <a:pt x="48488" y="178942"/>
                  </a:lnTo>
                  <a:lnTo>
                    <a:pt x="56324" y="175858"/>
                  </a:lnTo>
                  <a:lnTo>
                    <a:pt x="62437" y="170499"/>
                  </a:lnTo>
                  <a:lnTo>
                    <a:pt x="62871" y="169735"/>
                  </a:lnTo>
                  <a:lnTo>
                    <a:pt x="35585" y="169722"/>
                  </a:lnTo>
                  <a:lnTo>
                    <a:pt x="29095" y="163220"/>
                  </a:lnTo>
                  <a:lnTo>
                    <a:pt x="29095" y="150342"/>
                  </a:lnTo>
                  <a:lnTo>
                    <a:pt x="9690" y="150342"/>
                  </a:lnTo>
                  <a:lnTo>
                    <a:pt x="9690" y="135788"/>
                  </a:lnTo>
                  <a:lnTo>
                    <a:pt x="22072" y="135788"/>
                  </a:lnTo>
                  <a:lnTo>
                    <a:pt x="24244" y="133616"/>
                  </a:lnTo>
                  <a:lnTo>
                    <a:pt x="24244" y="128257"/>
                  </a:lnTo>
                  <a:lnTo>
                    <a:pt x="22072" y="126085"/>
                  </a:lnTo>
                  <a:lnTo>
                    <a:pt x="9690" y="126085"/>
                  </a:lnTo>
                  <a:lnTo>
                    <a:pt x="9690" y="116395"/>
                  </a:lnTo>
                  <a:lnTo>
                    <a:pt x="290967" y="116395"/>
                  </a:lnTo>
                  <a:lnTo>
                    <a:pt x="290969" y="108864"/>
                  </a:lnTo>
                  <a:lnTo>
                    <a:pt x="288797" y="106692"/>
                  </a:lnTo>
                  <a:lnTo>
                    <a:pt x="9690" y="106692"/>
                  </a:lnTo>
                  <a:lnTo>
                    <a:pt x="9690" y="9702"/>
                  </a:lnTo>
                  <a:lnTo>
                    <a:pt x="184276" y="9702"/>
                  </a:lnTo>
                  <a:lnTo>
                    <a:pt x="184276" y="2171"/>
                  </a:lnTo>
                  <a:lnTo>
                    <a:pt x="182105" y="0"/>
                  </a:lnTo>
                  <a:close/>
                </a:path>
                <a:path w="291465" h="179070">
                  <a:moveTo>
                    <a:pt x="77584" y="155397"/>
                  </a:moveTo>
                  <a:lnTo>
                    <a:pt x="67881" y="155397"/>
                  </a:lnTo>
                  <a:lnTo>
                    <a:pt x="67998" y="157860"/>
                  </a:lnTo>
                  <a:lnTo>
                    <a:pt x="87350" y="178963"/>
                  </a:lnTo>
                  <a:lnTo>
                    <a:pt x="96977" y="178942"/>
                  </a:lnTo>
                  <a:lnTo>
                    <a:pt x="103677" y="176507"/>
                  </a:lnTo>
                  <a:lnTo>
                    <a:pt x="109275" y="172331"/>
                  </a:lnTo>
                  <a:lnTo>
                    <a:pt x="111212" y="169735"/>
                  </a:lnTo>
                  <a:lnTo>
                    <a:pt x="84086" y="169722"/>
                  </a:lnTo>
                  <a:lnTo>
                    <a:pt x="77584" y="163220"/>
                  </a:lnTo>
                  <a:lnTo>
                    <a:pt x="77584" y="155397"/>
                  </a:lnTo>
                  <a:close/>
                </a:path>
                <a:path w="291465" h="179070">
                  <a:moveTo>
                    <a:pt x="223075" y="160032"/>
                  </a:moveTo>
                  <a:lnTo>
                    <a:pt x="213867" y="160032"/>
                  </a:lnTo>
                  <a:lnTo>
                    <a:pt x="217617" y="168898"/>
                  </a:lnTo>
                  <a:lnTo>
                    <a:pt x="224248" y="175412"/>
                  </a:lnTo>
                  <a:lnTo>
                    <a:pt x="232840" y="178963"/>
                  </a:lnTo>
                  <a:lnTo>
                    <a:pt x="242468" y="178942"/>
                  </a:lnTo>
                  <a:lnTo>
                    <a:pt x="249168" y="176507"/>
                  </a:lnTo>
                  <a:lnTo>
                    <a:pt x="254766" y="172331"/>
                  </a:lnTo>
                  <a:lnTo>
                    <a:pt x="256703" y="169735"/>
                  </a:lnTo>
                  <a:lnTo>
                    <a:pt x="229565" y="169722"/>
                  </a:lnTo>
                  <a:lnTo>
                    <a:pt x="223075" y="163220"/>
                  </a:lnTo>
                  <a:lnTo>
                    <a:pt x="223075" y="160032"/>
                  </a:lnTo>
                  <a:close/>
                </a:path>
                <a:path w="291465" h="179070">
                  <a:moveTo>
                    <a:pt x="62790" y="140639"/>
                  </a:moveTo>
                  <a:lnTo>
                    <a:pt x="51676" y="140639"/>
                  </a:lnTo>
                  <a:lnTo>
                    <a:pt x="58191" y="147154"/>
                  </a:lnTo>
                  <a:lnTo>
                    <a:pt x="58191" y="163220"/>
                  </a:lnTo>
                  <a:lnTo>
                    <a:pt x="51676" y="169735"/>
                  </a:lnTo>
                  <a:lnTo>
                    <a:pt x="62878" y="169722"/>
                  </a:lnTo>
                  <a:lnTo>
                    <a:pt x="66424" y="163474"/>
                  </a:lnTo>
                  <a:lnTo>
                    <a:pt x="67881" y="155397"/>
                  </a:lnTo>
                  <a:lnTo>
                    <a:pt x="77584" y="155397"/>
                  </a:lnTo>
                  <a:lnTo>
                    <a:pt x="77584" y="154978"/>
                  </a:lnTo>
                  <a:lnTo>
                    <a:pt x="67881" y="154978"/>
                  </a:lnTo>
                  <a:lnTo>
                    <a:pt x="67868" y="153454"/>
                  </a:lnTo>
                  <a:lnTo>
                    <a:pt x="67716" y="151891"/>
                  </a:lnTo>
                  <a:lnTo>
                    <a:pt x="67398" y="150342"/>
                  </a:lnTo>
                  <a:lnTo>
                    <a:pt x="63642" y="141476"/>
                  </a:lnTo>
                  <a:lnTo>
                    <a:pt x="62790" y="140639"/>
                  </a:lnTo>
                  <a:close/>
                </a:path>
                <a:path w="291465" h="179070">
                  <a:moveTo>
                    <a:pt x="111281" y="140639"/>
                  </a:moveTo>
                  <a:lnTo>
                    <a:pt x="100164" y="140639"/>
                  </a:lnTo>
                  <a:lnTo>
                    <a:pt x="106679" y="147154"/>
                  </a:lnTo>
                  <a:lnTo>
                    <a:pt x="106679" y="163220"/>
                  </a:lnTo>
                  <a:lnTo>
                    <a:pt x="100164" y="169722"/>
                  </a:lnTo>
                  <a:lnTo>
                    <a:pt x="92138" y="169735"/>
                  </a:lnTo>
                  <a:lnTo>
                    <a:pt x="111221" y="169722"/>
                  </a:lnTo>
                  <a:lnTo>
                    <a:pt x="113452" y="166732"/>
                  </a:lnTo>
                  <a:lnTo>
                    <a:pt x="115887" y="160032"/>
                  </a:lnTo>
                  <a:lnTo>
                    <a:pt x="223075" y="160032"/>
                  </a:lnTo>
                  <a:lnTo>
                    <a:pt x="223075" y="150342"/>
                  </a:lnTo>
                  <a:lnTo>
                    <a:pt x="115887" y="150342"/>
                  </a:lnTo>
                  <a:lnTo>
                    <a:pt x="112133" y="141476"/>
                  </a:lnTo>
                  <a:lnTo>
                    <a:pt x="111281" y="140639"/>
                  </a:lnTo>
                  <a:close/>
                </a:path>
                <a:path w="291465" h="179070">
                  <a:moveTo>
                    <a:pt x="256770" y="140639"/>
                  </a:moveTo>
                  <a:lnTo>
                    <a:pt x="245656" y="140639"/>
                  </a:lnTo>
                  <a:lnTo>
                    <a:pt x="252171" y="147154"/>
                  </a:lnTo>
                  <a:lnTo>
                    <a:pt x="252158" y="163220"/>
                  </a:lnTo>
                  <a:lnTo>
                    <a:pt x="245656" y="169722"/>
                  </a:lnTo>
                  <a:lnTo>
                    <a:pt x="237616" y="169735"/>
                  </a:lnTo>
                  <a:lnTo>
                    <a:pt x="256712" y="169722"/>
                  </a:lnTo>
                  <a:lnTo>
                    <a:pt x="258943" y="166732"/>
                  </a:lnTo>
                  <a:lnTo>
                    <a:pt x="261378" y="160032"/>
                  </a:lnTo>
                  <a:lnTo>
                    <a:pt x="288785" y="160032"/>
                  </a:lnTo>
                  <a:lnTo>
                    <a:pt x="290956" y="157873"/>
                  </a:lnTo>
                  <a:lnTo>
                    <a:pt x="290958" y="150342"/>
                  </a:lnTo>
                  <a:lnTo>
                    <a:pt x="261378" y="150342"/>
                  </a:lnTo>
                  <a:lnTo>
                    <a:pt x="257622" y="141476"/>
                  </a:lnTo>
                  <a:lnTo>
                    <a:pt x="256770" y="140639"/>
                  </a:lnTo>
                  <a:close/>
                </a:path>
                <a:path w="291465" h="179070">
                  <a:moveTo>
                    <a:pt x="96913" y="131411"/>
                  </a:moveTo>
                  <a:lnTo>
                    <a:pt x="67881" y="154978"/>
                  </a:lnTo>
                  <a:lnTo>
                    <a:pt x="77584" y="154978"/>
                  </a:lnTo>
                  <a:lnTo>
                    <a:pt x="77584" y="147154"/>
                  </a:lnTo>
                  <a:lnTo>
                    <a:pt x="84099" y="140639"/>
                  </a:lnTo>
                  <a:lnTo>
                    <a:pt x="111281" y="140639"/>
                  </a:lnTo>
                  <a:lnTo>
                    <a:pt x="105502" y="134962"/>
                  </a:lnTo>
                  <a:lnTo>
                    <a:pt x="96913" y="131411"/>
                  </a:lnTo>
                  <a:close/>
                </a:path>
                <a:path w="291465" h="179070">
                  <a:moveTo>
                    <a:pt x="48414" y="131411"/>
                  </a:moveTo>
                  <a:lnTo>
                    <a:pt x="19875" y="150342"/>
                  </a:lnTo>
                  <a:lnTo>
                    <a:pt x="29095" y="150342"/>
                  </a:lnTo>
                  <a:lnTo>
                    <a:pt x="29095" y="147154"/>
                  </a:lnTo>
                  <a:lnTo>
                    <a:pt x="35610" y="140652"/>
                  </a:lnTo>
                  <a:lnTo>
                    <a:pt x="62790" y="140639"/>
                  </a:lnTo>
                  <a:lnTo>
                    <a:pt x="57007" y="134962"/>
                  </a:lnTo>
                  <a:lnTo>
                    <a:pt x="48414" y="131411"/>
                  </a:lnTo>
                  <a:close/>
                </a:path>
                <a:path w="291465" h="179070">
                  <a:moveTo>
                    <a:pt x="203669" y="116395"/>
                  </a:moveTo>
                  <a:lnTo>
                    <a:pt x="193967" y="116395"/>
                  </a:lnTo>
                  <a:lnTo>
                    <a:pt x="193967" y="150342"/>
                  </a:lnTo>
                  <a:lnTo>
                    <a:pt x="203669" y="150342"/>
                  </a:lnTo>
                  <a:lnTo>
                    <a:pt x="203669" y="116395"/>
                  </a:lnTo>
                  <a:close/>
                </a:path>
                <a:path w="291465" h="179070">
                  <a:moveTo>
                    <a:pt x="242394" y="131411"/>
                  </a:moveTo>
                  <a:lnTo>
                    <a:pt x="213855" y="150342"/>
                  </a:lnTo>
                  <a:lnTo>
                    <a:pt x="223075" y="150342"/>
                  </a:lnTo>
                  <a:lnTo>
                    <a:pt x="223075" y="147154"/>
                  </a:lnTo>
                  <a:lnTo>
                    <a:pt x="229577" y="140639"/>
                  </a:lnTo>
                  <a:lnTo>
                    <a:pt x="256770" y="140639"/>
                  </a:lnTo>
                  <a:lnTo>
                    <a:pt x="250986" y="134962"/>
                  </a:lnTo>
                  <a:lnTo>
                    <a:pt x="242394" y="131411"/>
                  </a:lnTo>
                  <a:close/>
                </a:path>
                <a:path w="291465" h="179070">
                  <a:moveTo>
                    <a:pt x="290967" y="116395"/>
                  </a:moveTo>
                  <a:lnTo>
                    <a:pt x="281266" y="116395"/>
                  </a:lnTo>
                  <a:lnTo>
                    <a:pt x="281266" y="126085"/>
                  </a:lnTo>
                  <a:lnTo>
                    <a:pt x="268884" y="126085"/>
                  </a:lnTo>
                  <a:lnTo>
                    <a:pt x="266712" y="128257"/>
                  </a:lnTo>
                  <a:lnTo>
                    <a:pt x="266712" y="133616"/>
                  </a:lnTo>
                  <a:lnTo>
                    <a:pt x="268884" y="135788"/>
                  </a:lnTo>
                  <a:lnTo>
                    <a:pt x="281266" y="135788"/>
                  </a:lnTo>
                  <a:lnTo>
                    <a:pt x="281266" y="150342"/>
                  </a:lnTo>
                  <a:lnTo>
                    <a:pt x="290958" y="150342"/>
                  </a:lnTo>
                  <a:lnTo>
                    <a:pt x="290967" y="116395"/>
                  </a:lnTo>
                  <a:close/>
                </a:path>
                <a:path w="291465" h="179070">
                  <a:moveTo>
                    <a:pt x="184276" y="9702"/>
                  </a:moveTo>
                  <a:lnTo>
                    <a:pt x="174574" y="9702"/>
                  </a:lnTo>
                  <a:lnTo>
                    <a:pt x="174574" y="106692"/>
                  </a:lnTo>
                  <a:lnTo>
                    <a:pt x="184276" y="106692"/>
                  </a:lnTo>
                  <a:lnTo>
                    <a:pt x="184276" y="9702"/>
                  </a:lnTo>
                  <a:close/>
                </a:path>
                <a:path w="291465" h="179070">
                  <a:moveTo>
                    <a:pt x="197713" y="4279"/>
                  </a:moveTo>
                  <a:lnTo>
                    <a:pt x="194995" y="5702"/>
                  </a:lnTo>
                  <a:lnTo>
                    <a:pt x="194043" y="8724"/>
                  </a:lnTo>
                  <a:lnTo>
                    <a:pt x="193967" y="106692"/>
                  </a:lnTo>
                  <a:lnTo>
                    <a:pt x="203669" y="106692"/>
                  </a:lnTo>
                  <a:lnTo>
                    <a:pt x="203669" y="38798"/>
                  </a:lnTo>
                  <a:lnTo>
                    <a:pt x="281266" y="38798"/>
                  </a:lnTo>
                  <a:lnTo>
                    <a:pt x="278790" y="29819"/>
                  </a:lnTo>
                  <a:lnTo>
                    <a:pt x="278561" y="29667"/>
                  </a:lnTo>
                  <a:lnTo>
                    <a:pt x="278320" y="29540"/>
                  </a:lnTo>
                  <a:lnTo>
                    <a:pt x="277990" y="29400"/>
                  </a:lnTo>
                  <a:lnTo>
                    <a:pt x="277126" y="29095"/>
                  </a:lnTo>
                  <a:lnTo>
                    <a:pt x="203669" y="29095"/>
                  </a:lnTo>
                  <a:lnTo>
                    <a:pt x="203669" y="16294"/>
                  </a:lnTo>
                  <a:lnTo>
                    <a:pt x="236160" y="16294"/>
                  </a:lnTo>
                  <a:lnTo>
                    <a:pt x="197713" y="4279"/>
                  </a:lnTo>
                  <a:close/>
                </a:path>
                <a:path w="291465" h="179070">
                  <a:moveTo>
                    <a:pt x="281266" y="38798"/>
                  </a:moveTo>
                  <a:lnTo>
                    <a:pt x="271564" y="38798"/>
                  </a:lnTo>
                  <a:lnTo>
                    <a:pt x="271564" y="48501"/>
                  </a:lnTo>
                  <a:lnTo>
                    <a:pt x="215544" y="48501"/>
                  </a:lnTo>
                  <a:lnTo>
                    <a:pt x="213372" y="50660"/>
                  </a:lnTo>
                  <a:lnTo>
                    <a:pt x="213372" y="85128"/>
                  </a:lnTo>
                  <a:lnTo>
                    <a:pt x="215544" y="87299"/>
                  </a:lnTo>
                  <a:lnTo>
                    <a:pt x="271564" y="87299"/>
                  </a:lnTo>
                  <a:lnTo>
                    <a:pt x="271564" y="106692"/>
                  </a:lnTo>
                  <a:lnTo>
                    <a:pt x="281266" y="106692"/>
                  </a:lnTo>
                  <a:lnTo>
                    <a:pt x="281266" y="77596"/>
                  </a:lnTo>
                  <a:lnTo>
                    <a:pt x="223075" y="77596"/>
                  </a:lnTo>
                  <a:lnTo>
                    <a:pt x="223075" y="58204"/>
                  </a:lnTo>
                  <a:lnTo>
                    <a:pt x="281266" y="58204"/>
                  </a:lnTo>
                  <a:lnTo>
                    <a:pt x="281266" y="38798"/>
                  </a:lnTo>
                  <a:close/>
                </a:path>
                <a:path w="291465" h="179070">
                  <a:moveTo>
                    <a:pt x="281266" y="58204"/>
                  </a:moveTo>
                  <a:lnTo>
                    <a:pt x="271564" y="58204"/>
                  </a:lnTo>
                  <a:lnTo>
                    <a:pt x="271564" y="77596"/>
                  </a:lnTo>
                  <a:lnTo>
                    <a:pt x="281266" y="77596"/>
                  </a:lnTo>
                  <a:lnTo>
                    <a:pt x="281266" y="58204"/>
                  </a:lnTo>
                  <a:close/>
                </a:path>
                <a:path w="291465" h="179070">
                  <a:moveTo>
                    <a:pt x="236160" y="16294"/>
                  </a:moveTo>
                  <a:lnTo>
                    <a:pt x="203669" y="16294"/>
                  </a:lnTo>
                  <a:lnTo>
                    <a:pt x="244640" y="29095"/>
                  </a:lnTo>
                  <a:lnTo>
                    <a:pt x="277126" y="29095"/>
                  </a:lnTo>
                  <a:lnTo>
                    <a:pt x="236160" y="16294"/>
                  </a:lnTo>
                  <a:close/>
                </a:path>
              </a:pathLst>
            </a:custGeom>
            <a:solidFill>
              <a:srgbClr val="565658"/>
            </a:solidFill>
          </p:spPr>
          <p:txBody>
            <a:bodyPr wrap="square" lIns="0" tIns="0" rIns="0" bIns="0" rtlCol="0"/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12" name="object 12"/>
            <p:cNvSpPr/>
            <p:nvPr/>
          </p:nvSpPr>
          <p:spPr>
            <a:xfrm>
              <a:off x="1062437" y="5765008"/>
              <a:ext cx="126090" cy="77597"/>
            </a:xfrm>
            <a:prstGeom prst="rect">
              <a:avLst/>
            </a:prstGeom>
            <a:blipFill>
              <a:blip r:embed="rId9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9" name="object 9"/>
            <p:cNvSpPr/>
            <p:nvPr/>
          </p:nvSpPr>
          <p:spPr>
            <a:xfrm>
              <a:off x="1067280" y="5891095"/>
              <a:ext cx="19685" cy="19685"/>
            </a:xfrm>
            <a:custGeom>
              <a:avLst/>
              <a:gdLst/>
              <a:ahLst/>
              <a:cxnLst/>
              <a:rect l="l" t="t" r="r" b="b"/>
              <a:pathLst>
                <a:path w="19684" h="19685">
                  <a:moveTo>
                    <a:pt x="15062" y="0"/>
                  </a:moveTo>
                  <a:lnTo>
                    <a:pt x="4343" y="0"/>
                  </a:lnTo>
                  <a:lnTo>
                    <a:pt x="0" y="4343"/>
                  </a:lnTo>
                  <a:lnTo>
                    <a:pt x="0" y="15049"/>
                  </a:lnTo>
                  <a:lnTo>
                    <a:pt x="4343" y="19392"/>
                  </a:lnTo>
                  <a:lnTo>
                    <a:pt x="15062" y="19392"/>
                  </a:lnTo>
                  <a:lnTo>
                    <a:pt x="19405" y="15049"/>
                  </a:lnTo>
                  <a:lnTo>
                    <a:pt x="19405" y="4343"/>
                  </a:lnTo>
                  <a:lnTo>
                    <a:pt x="15062" y="0"/>
                  </a:lnTo>
                  <a:close/>
                </a:path>
              </a:pathLst>
            </a:custGeom>
            <a:solidFill>
              <a:srgbClr val="565658"/>
            </a:solidFill>
          </p:spPr>
          <p:txBody>
            <a:bodyPr wrap="square" lIns="0" tIns="0" rIns="0" bIns="0" rtlCol="0"/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10" name="object 10"/>
            <p:cNvSpPr/>
            <p:nvPr/>
          </p:nvSpPr>
          <p:spPr>
            <a:xfrm>
              <a:off x="1115775" y="5891095"/>
              <a:ext cx="19685" cy="19685"/>
            </a:xfrm>
            <a:custGeom>
              <a:avLst/>
              <a:gdLst/>
              <a:ahLst/>
              <a:cxnLst/>
              <a:rect l="l" t="t" r="r" b="b"/>
              <a:pathLst>
                <a:path w="19684" h="19685">
                  <a:moveTo>
                    <a:pt x="15062" y="0"/>
                  </a:moveTo>
                  <a:lnTo>
                    <a:pt x="4343" y="0"/>
                  </a:lnTo>
                  <a:lnTo>
                    <a:pt x="0" y="4343"/>
                  </a:lnTo>
                  <a:lnTo>
                    <a:pt x="0" y="15049"/>
                  </a:lnTo>
                  <a:lnTo>
                    <a:pt x="4343" y="19392"/>
                  </a:lnTo>
                  <a:lnTo>
                    <a:pt x="15062" y="19392"/>
                  </a:lnTo>
                  <a:lnTo>
                    <a:pt x="19405" y="15049"/>
                  </a:lnTo>
                  <a:lnTo>
                    <a:pt x="19405" y="4343"/>
                  </a:lnTo>
                  <a:lnTo>
                    <a:pt x="15062" y="0"/>
                  </a:lnTo>
                  <a:close/>
                </a:path>
              </a:pathLst>
            </a:custGeom>
            <a:solidFill>
              <a:srgbClr val="565658"/>
            </a:solidFill>
          </p:spPr>
          <p:txBody>
            <a:bodyPr wrap="square" lIns="0" tIns="0" rIns="0" bIns="0" rtlCol="0"/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8" name="object 8"/>
            <p:cNvSpPr/>
            <p:nvPr/>
          </p:nvSpPr>
          <p:spPr>
            <a:xfrm>
              <a:off x="1261259" y="5891095"/>
              <a:ext cx="19685" cy="19685"/>
            </a:xfrm>
            <a:custGeom>
              <a:avLst/>
              <a:gdLst/>
              <a:ahLst/>
              <a:cxnLst/>
              <a:rect l="l" t="t" r="r" b="b"/>
              <a:pathLst>
                <a:path w="19684" h="19685">
                  <a:moveTo>
                    <a:pt x="15062" y="0"/>
                  </a:moveTo>
                  <a:lnTo>
                    <a:pt x="4343" y="0"/>
                  </a:lnTo>
                  <a:lnTo>
                    <a:pt x="0" y="4343"/>
                  </a:lnTo>
                  <a:lnTo>
                    <a:pt x="0" y="15049"/>
                  </a:lnTo>
                  <a:lnTo>
                    <a:pt x="4343" y="19392"/>
                  </a:lnTo>
                  <a:lnTo>
                    <a:pt x="15062" y="19392"/>
                  </a:lnTo>
                  <a:lnTo>
                    <a:pt x="19405" y="15049"/>
                  </a:lnTo>
                  <a:lnTo>
                    <a:pt x="19405" y="4343"/>
                  </a:lnTo>
                  <a:lnTo>
                    <a:pt x="15062" y="0"/>
                  </a:lnTo>
                  <a:close/>
                </a:path>
              </a:pathLst>
            </a:custGeom>
            <a:solidFill>
              <a:srgbClr val="565658"/>
            </a:solidFill>
          </p:spPr>
          <p:txBody>
            <a:bodyPr wrap="square" lIns="0" tIns="0" rIns="0" bIns="0" rtlCol="0"/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  <p:pic>
        <p:nvPicPr>
          <p:cNvPr id="24" name="Obraz 76" descr="strzalka-2.png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6958" y="6829425"/>
            <a:ext cx="253916" cy="3515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471322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numeru slajdu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 rtl="0"/>
            <a:fld id="{022581BA-A277-4FE5-891C-DC92D7F0A26A}" type="slidenum">
              <a:rPr/>
              <a:pPr algn="r" rtl="0"/>
              <a:t>3</a:t>
            </a:fld>
            <a:endParaRPr lang="en" dirty="0"/>
          </a:p>
        </p:txBody>
      </p:sp>
      <p:graphicFrame>
        <p:nvGraphicFramePr>
          <p:cNvPr id="19" name="Obiekt 1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77946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742" name="think-cell Slide" r:id="rId5" imgW="240" imgH="240" progId="TCLayout.ActiveDocument.1">
                  <p:embed/>
                </p:oleObj>
              </mc:Choice>
              <mc:Fallback>
                <p:oleObj name="think-cell Slide" r:id="rId5" imgW="240" imgH="24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9" name="Obraz 28" descr="strzalka.png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114" y="798439"/>
            <a:ext cx="540000" cy="727158"/>
          </a:xfrm>
          <a:prstGeom prst="rect">
            <a:avLst/>
          </a:prstGeom>
        </p:spPr>
      </p:pic>
      <p:sp>
        <p:nvSpPr>
          <p:cNvPr id="30" name="object 3"/>
          <p:cNvSpPr txBox="1"/>
          <p:nvPr/>
        </p:nvSpPr>
        <p:spPr>
          <a:xfrm>
            <a:off x="1513320" y="802904"/>
            <a:ext cx="8335218" cy="3206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algn="l" rtl="0">
              <a:spcBef>
                <a:spcPts val="100"/>
              </a:spcBef>
            </a:pPr>
            <a:r>
              <a:rPr lang="en" sz="2000" b="0" i="0" u="none" baseline="0">
                <a:solidFill>
                  <a:srgbClr val="3A4D98"/>
                </a:solidFill>
                <a:latin typeface="Myriad Pro"/>
                <a:ea typeface="Myriad Pro"/>
                <a:cs typeface="Myriad Pro"/>
              </a:rPr>
              <a:t>Results of the PKP CARGO Group in 2021</a:t>
            </a:r>
          </a:p>
        </p:txBody>
      </p:sp>
      <p:sp>
        <p:nvSpPr>
          <p:cNvPr id="2" name="object 2"/>
          <p:cNvSpPr/>
          <p:nvPr/>
        </p:nvSpPr>
        <p:spPr>
          <a:xfrm>
            <a:off x="1142865" y="2144941"/>
            <a:ext cx="1989442" cy="4495609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</a:endParaRPr>
          </a:p>
        </p:txBody>
      </p:sp>
      <p:sp>
        <p:nvSpPr>
          <p:cNvPr id="41" name="pole tekstowe 40"/>
          <p:cNvSpPr txBox="1"/>
          <p:nvPr/>
        </p:nvSpPr>
        <p:spPr>
          <a:xfrm>
            <a:off x="7939682" y="2429751"/>
            <a:ext cx="2401292" cy="527048"/>
          </a:xfrm>
          <a:prstGeom prst="rect">
            <a:avLst/>
          </a:prstGeom>
        </p:spPr>
        <p:txBody>
          <a:bodyPr vert="horz" wrap="square" lIns="91440" tIns="45720" rIns="91440" bIns="45720" rtlCol="0" anchor="t">
            <a:noAutofit/>
          </a:bodyPr>
          <a:lstStyle/>
          <a:p>
            <a:pPr algn="l" rtl="0"/>
            <a:r>
              <a:rPr lang="en" b="1" i="0" u="none" baseline="0" dirty="0">
                <a:solidFill>
                  <a:srgbClr val="454545"/>
                </a:solidFill>
                <a:latin typeface="Myriad Pro" panose="020B0503030403020204" pitchFamily="34" charset="0"/>
                <a:ea typeface="Myriad Pro" panose="020B0503030403020204" pitchFamily="34" charset="0"/>
                <a:cs typeface="Myriad Pro" panose="020B0503030403020204" pitchFamily="34" charset="0"/>
              </a:rPr>
              <a:t>Operational data </a:t>
            </a:r>
            <a:r>
              <a:rPr lang="en" b="1" dirty="0">
                <a:solidFill>
                  <a:srgbClr val="454545"/>
                </a:solidFill>
                <a:latin typeface="Myriad Pro" panose="020B0503030403020204" pitchFamily="34" charset="0"/>
              </a:rPr>
              <a:t/>
            </a:r>
            <a:br>
              <a:rPr lang="en" b="1" dirty="0">
                <a:solidFill>
                  <a:srgbClr val="454545"/>
                </a:solidFill>
                <a:latin typeface="Myriad Pro" panose="020B0503030403020204" pitchFamily="34" charset="0"/>
              </a:rPr>
            </a:br>
            <a:r>
              <a:rPr lang="pl-PL" b="1" dirty="0">
                <a:solidFill>
                  <a:srgbClr val="454545"/>
                </a:solidFill>
                <a:latin typeface="Myriad Pro" panose="020B0503030403020204" pitchFamily="34" charset="0"/>
              </a:rPr>
              <a:t>for </a:t>
            </a:r>
            <a:r>
              <a:rPr lang="en" b="1" i="0" u="none" baseline="0" dirty="0">
                <a:solidFill>
                  <a:srgbClr val="454545"/>
                </a:solidFill>
                <a:latin typeface="Myriad Pro" panose="020B0503030403020204" pitchFamily="34" charset="0"/>
                <a:ea typeface="Myriad Pro" panose="020B0503030403020204" pitchFamily="34" charset="0"/>
                <a:cs typeface="Myriad Pro" panose="020B0503030403020204" pitchFamily="34" charset="0"/>
              </a:rPr>
              <a:t>12M 2021</a:t>
            </a:r>
          </a:p>
        </p:txBody>
      </p:sp>
      <p:sp>
        <p:nvSpPr>
          <p:cNvPr id="34" name="pole tekstowe 33"/>
          <p:cNvSpPr txBox="1"/>
          <p:nvPr/>
        </p:nvSpPr>
        <p:spPr>
          <a:xfrm>
            <a:off x="4676931" y="2464480"/>
            <a:ext cx="2081434" cy="527048"/>
          </a:xfrm>
          <a:prstGeom prst="rect">
            <a:avLst/>
          </a:prstGeom>
        </p:spPr>
        <p:txBody>
          <a:bodyPr vert="horz" wrap="square" lIns="91440" tIns="45720" rIns="91440" bIns="45720" rtlCol="0" anchor="t">
            <a:noAutofit/>
          </a:bodyPr>
          <a:lstStyle/>
          <a:p>
            <a:pPr algn="l" rtl="0"/>
            <a:r>
              <a:rPr lang="en" b="1" i="0" u="none" baseline="0" dirty="0">
                <a:solidFill>
                  <a:srgbClr val="454545"/>
                </a:solidFill>
                <a:latin typeface="Myriad Pro" panose="020B0503030403020204" pitchFamily="34" charset="0"/>
                <a:ea typeface="Myriad Pro" panose="020B0503030403020204" pitchFamily="34" charset="0"/>
                <a:cs typeface="Myriad Pro" panose="020B0503030403020204" pitchFamily="34" charset="0"/>
              </a:rPr>
              <a:t>Financial data </a:t>
            </a:r>
            <a:r>
              <a:rPr lang="en" b="1" dirty="0">
                <a:solidFill>
                  <a:srgbClr val="454545"/>
                </a:solidFill>
                <a:latin typeface="Myriad Pro" panose="020B0503030403020204" pitchFamily="34" charset="0"/>
              </a:rPr>
              <a:t/>
            </a:r>
            <a:br>
              <a:rPr lang="en" b="1" dirty="0">
                <a:solidFill>
                  <a:srgbClr val="454545"/>
                </a:solidFill>
                <a:latin typeface="Myriad Pro" panose="020B0503030403020204" pitchFamily="34" charset="0"/>
              </a:rPr>
            </a:br>
            <a:r>
              <a:rPr lang="pl-PL" b="1" dirty="0">
                <a:solidFill>
                  <a:srgbClr val="454545"/>
                </a:solidFill>
                <a:latin typeface="Myriad Pro" panose="020B0503030403020204" pitchFamily="34" charset="0"/>
              </a:rPr>
              <a:t>for </a:t>
            </a:r>
            <a:r>
              <a:rPr lang="en" b="1" i="0" u="none" baseline="0" dirty="0">
                <a:solidFill>
                  <a:srgbClr val="454545"/>
                </a:solidFill>
                <a:latin typeface="Myriad Pro" panose="020B0503030403020204" pitchFamily="34" charset="0"/>
                <a:ea typeface="Myriad Pro" panose="020B0503030403020204" pitchFamily="34" charset="0"/>
                <a:cs typeface="Myriad Pro" panose="020B0503030403020204" pitchFamily="34" charset="0"/>
              </a:rPr>
              <a:t>12M 2021</a:t>
            </a:r>
          </a:p>
        </p:txBody>
      </p:sp>
      <p:cxnSp>
        <p:nvCxnSpPr>
          <p:cNvPr id="17" name="Łącznik prosty 16"/>
          <p:cNvCxnSpPr/>
          <p:nvPr/>
        </p:nvCxnSpPr>
        <p:spPr>
          <a:xfrm>
            <a:off x="3547661" y="2880409"/>
            <a:ext cx="0" cy="3564000"/>
          </a:xfrm>
          <a:prstGeom prst="line">
            <a:avLst/>
          </a:prstGeom>
          <a:ln w="28575"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2" name="Łącznik prosty 31"/>
          <p:cNvCxnSpPr/>
          <p:nvPr/>
        </p:nvCxnSpPr>
        <p:spPr>
          <a:xfrm>
            <a:off x="6776930" y="2881362"/>
            <a:ext cx="0" cy="3564000"/>
          </a:xfrm>
          <a:prstGeom prst="line">
            <a:avLst/>
          </a:prstGeom>
          <a:ln w="28575"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35" name="pole tekstowe 34"/>
          <p:cNvSpPr txBox="1"/>
          <p:nvPr/>
        </p:nvSpPr>
        <p:spPr>
          <a:xfrm>
            <a:off x="3617620" y="3554072"/>
            <a:ext cx="3102926" cy="2509808"/>
          </a:xfrm>
          <a:prstGeom prst="rect">
            <a:avLst/>
          </a:prstGeom>
        </p:spPr>
        <p:txBody>
          <a:bodyPr vert="horz" wrap="square" lIns="91440" tIns="45720" rIns="91440" bIns="45720" rtlCol="0" anchor="t">
            <a:noAutofit/>
          </a:bodyPr>
          <a:lstStyle/>
          <a:p>
            <a:pPr algn="l" rtl="0">
              <a:spcBef>
                <a:spcPts val="1200"/>
              </a:spcBef>
              <a:spcAft>
                <a:spcPts val="1200"/>
              </a:spcAft>
              <a:buClr>
                <a:srgbClr val="003087"/>
              </a:buClr>
            </a:pPr>
            <a:r>
              <a:rPr lang="en" sz="2400" b="1" i="0" u="none" baseline="0" dirty="0">
                <a:solidFill>
                  <a:srgbClr val="003087"/>
                </a:solidFill>
                <a:latin typeface="Myriad Pro" panose="020B0503030403020204" pitchFamily="34" charset="0"/>
                <a:ea typeface="Myriad Pro" panose="020B0503030403020204" pitchFamily="34" charset="0"/>
                <a:cs typeface="Myriad Pro" panose="020B0503030403020204" pitchFamily="34" charset="0"/>
              </a:rPr>
              <a:t>PLN 4,266.5 </a:t>
            </a:r>
            <a:r>
              <a:rPr lang="en" sz="2000" b="1" i="0" u="none" baseline="0" dirty="0">
                <a:solidFill>
                  <a:srgbClr val="003087"/>
                </a:solidFill>
                <a:latin typeface="Myriad Pro" panose="020B0503030403020204" pitchFamily="34" charset="0"/>
                <a:ea typeface="Myriad Pro" panose="020B0503030403020204" pitchFamily="34" charset="0"/>
                <a:cs typeface="Myriad Pro" panose="020B0503030403020204" pitchFamily="34" charset="0"/>
              </a:rPr>
              <a:t>million </a:t>
            </a:r>
            <a:r>
              <a:rPr lang="en" b="0" i="0" u="none" baseline="0" dirty="0">
                <a:solidFill>
                  <a:srgbClr val="000000"/>
                </a:solidFill>
                <a:latin typeface="Myriad Pro" panose="020B0503030403020204" pitchFamily="34" charset="0"/>
                <a:ea typeface="Myriad Pro" panose="020B0503030403020204" pitchFamily="34" charset="0"/>
                <a:cs typeface="Myriad Pro" panose="020B0503030403020204" pitchFamily="34" charset="0"/>
              </a:rPr>
              <a:t>revenues from contracts </a:t>
            </a:r>
            <a:r>
              <a:rPr lang="pl-PL" b="0" i="0" u="none" baseline="0" dirty="0">
                <a:solidFill>
                  <a:srgbClr val="000000"/>
                </a:solidFill>
                <a:latin typeface="Myriad Pro" panose="020B0503030403020204" pitchFamily="34" charset="0"/>
                <a:ea typeface="Myriad Pro" panose="020B0503030403020204" pitchFamily="34" charset="0"/>
                <a:cs typeface="Myriad Pro" panose="020B0503030403020204" pitchFamily="34" charset="0"/>
              </a:rPr>
              <a:t/>
            </a:r>
            <a:br>
              <a:rPr lang="pl-PL" b="0" i="0" u="none" baseline="0" dirty="0">
                <a:solidFill>
                  <a:srgbClr val="000000"/>
                </a:solidFill>
                <a:latin typeface="Myriad Pro" panose="020B0503030403020204" pitchFamily="34" charset="0"/>
                <a:ea typeface="Myriad Pro" panose="020B0503030403020204" pitchFamily="34" charset="0"/>
                <a:cs typeface="Myriad Pro" panose="020B0503030403020204" pitchFamily="34" charset="0"/>
              </a:rPr>
            </a:br>
            <a:r>
              <a:rPr lang="en" b="0" i="0" u="none" baseline="0" dirty="0">
                <a:solidFill>
                  <a:srgbClr val="000000"/>
                </a:solidFill>
                <a:latin typeface="Myriad Pro" panose="020B0503030403020204" pitchFamily="34" charset="0"/>
                <a:ea typeface="Myriad Pro" panose="020B0503030403020204" pitchFamily="34" charset="0"/>
                <a:cs typeface="Myriad Pro" panose="020B0503030403020204" pitchFamily="34" charset="0"/>
              </a:rPr>
              <a:t>with customers</a:t>
            </a:r>
            <a:r>
              <a:rPr lang="en" dirty="0">
                <a:solidFill>
                  <a:srgbClr val="000000"/>
                </a:solidFill>
                <a:latin typeface="Myriad Pro" panose="020B0503030403020204" pitchFamily="34" charset="0"/>
              </a:rPr>
              <a:t/>
            </a:r>
            <a:br>
              <a:rPr lang="en" dirty="0">
                <a:solidFill>
                  <a:srgbClr val="000000"/>
                </a:solidFill>
                <a:latin typeface="Myriad Pro" panose="020B0503030403020204" pitchFamily="34" charset="0"/>
              </a:rPr>
            </a:br>
            <a:endParaRPr lang="en" dirty="0">
              <a:solidFill>
                <a:srgbClr val="000000"/>
              </a:solidFill>
              <a:latin typeface="Myriad Pro" panose="020B0503030403020204" pitchFamily="34" charset="0"/>
            </a:endParaRPr>
          </a:p>
          <a:p>
            <a:pPr algn="l" rtl="0">
              <a:spcBef>
                <a:spcPts val="1200"/>
              </a:spcBef>
              <a:spcAft>
                <a:spcPts val="1200"/>
              </a:spcAft>
              <a:buClr>
                <a:srgbClr val="003087"/>
              </a:buClr>
            </a:pPr>
            <a:r>
              <a:rPr lang="en" sz="2400" b="1" i="0" u="none" baseline="0" dirty="0">
                <a:solidFill>
                  <a:srgbClr val="003087"/>
                </a:solidFill>
                <a:latin typeface="Myriad Pro" panose="020B0503030403020204" pitchFamily="34" charset="0"/>
                <a:ea typeface="Myriad Pro" panose="020B0503030403020204" pitchFamily="34" charset="0"/>
                <a:cs typeface="Myriad Pro" panose="020B0503030403020204" pitchFamily="34" charset="0"/>
              </a:rPr>
              <a:t>PLN 513.2 </a:t>
            </a:r>
            <a:r>
              <a:rPr lang="en" sz="2000" b="1" i="0" u="none" baseline="0" dirty="0">
                <a:solidFill>
                  <a:srgbClr val="003087"/>
                </a:solidFill>
                <a:latin typeface="Myriad Pro" panose="020B0503030403020204" pitchFamily="34" charset="0"/>
                <a:ea typeface="Myriad Pro" panose="020B0503030403020204" pitchFamily="34" charset="0"/>
                <a:cs typeface="Myriad Pro" panose="020B0503030403020204" pitchFamily="34" charset="0"/>
              </a:rPr>
              <a:t>million </a:t>
            </a:r>
            <a:r>
              <a:rPr lang="en" sz="2000" b="1" dirty="0">
                <a:solidFill>
                  <a:srgbClr val="003087"/>
                </a:solidFill>
                <a:latin typeface="Myriad Pro" panose="020B0503030403020204" pitchFamily="34" charset="0"/>
              </a:rPr>
              <a:t/>
            </a:r>
            <a:br>
              <a:rPr lang="en" sz="2000" b="1" dirty="0">
                <a:solidFill>
                  <a:srgbClr val="003087"/>
                </a:solidFill>
                <a:latin typeface="Myriad Pro" panose="020B0503030403020204" pitchFamily="34" charset="0"/>
              </a:rPr>
            </a:br>
            <a:r>
              <a:rPr lang="en" b="0" i="0" u="none" baseline="0" dirty="0">
                <a:solidFill>
                  <a:srgbClr val="000000"/>
                </a:solidFill>
                <a:latin typeface="Myriad Pro" panose="020B0503030403020204" pitchFamily="34" charset="0"/>
                <a:ea typeface="Myriad Pro" panose="020B0503030403020204" pitchFamily="34" charset="0"/>
                <a:cs typeface="Myriad Pro" panose="020B0503030403020204" pitchFamily="34" charset="0"/>
              </a:rPr>
              <a:t>EBITDA</a:t>
            </a:r>
          </a:p>
          <a:p>
            <a:pPr algn="l" rtl="0">
              <a:spcBef>
                <a:spcPts val="1200"/>
              </a:spcBef>
              <a:spcAft>
                <a:spcPts val="1200"/>
              </a:spcAft>
              <a:buClr>
                <a:srgbClr val="003087"/>
              </a:buClr>
            </a:pPr>
            <a:r>
              <a:rPr lang="en" sz="2400" b="1" i="0" u="none" baseline="0" dirty="0">
                <a:solidFill>
                  <a:srgbClr val="003087"/>
                </a:solidFill>
                <a:latin typeface="Myriad Pro" panose="020B0503030403020204" pitchFamily="34" charset="0"/>
                <a:ea typeface="Myriad Pro" panose="020B0503030403020204" pitchFamily="34" charset="0"/>
                <a:cs typeface="Myriad Pro" panose="020B0503030403020204" pitchFamily="34" charset="0"/>
              </a:rPr>
              <a:t>PLN -208.8 </a:t>
            </a:r>
            <a:r>
              <a:rPr lang="en" sz="2000" b="1" i="0" u="none" baseline="0" dirty="0">
                <a:solidFill>
                  <a:srgbClr val="003087"/>
                </a:solidFill>
                <a:latin typeface="Myriad Pro" panose="020B0503030403020204" pitchFamily="34" charset="0"/>
                <a:ea typeface="Myriad Pro" panose="020B0503030403020204" pitchFamily="34" charset="0"/>
                <a:cs typeface="Myriad Pro" panose="020B0503030403020204" pitchFamily="34" charset="0"/>
              </a:rPr>
              <a:t>million </a:t>
            </a:r>
            <a:r>
              <a:rPr lang="en" sz="2000" b="1" dirty="0">
                <a:solidFill>
                  <a:srgbClr val="003087"/>
                </a:solidFill>
                <a:latin typeface="Myriad Pro" panose="020B0503030403020204" pitchFamily="34" charset="0"/>
              </a:rPr>
              <a:t/>
            </a:r>
            <a:br>
              <a:rPr lang="en" sz="2000" b="1" dirty="0">
                <a:solidFill>
                  <a:srgbClr val="003087"/>
                </a:solidFill>
                <a:latin typeface="Myriad Pro" panose="020B0503030403020204" pitchFamily="34" charset="0"/>
              </a:rPr>
            </a:br>
            <a:r>
              <a:rPr lang="en" b="0" i="0" u="none" baseline="0" dirty="0">
                <a:solidFill>
                  <a:srgbClr val="000000"/>
                </a:solidFill>
                <a:latin typeface="Myriad Pro" panose="020B0503030403020204" pitchFamily="34" charset="0"/>
                <a:ea typeface="Myriad Pro" panose="020B0503030403020204" pitchFamily="34" charset="0"/>
                <a:cs typeface="Myriad Pro" panose="020B0503030403020204" pitchFamily="34" charset="0"/>
              </a:rPr>
              <a:t>EBIT</a:t>
            </a:r>
          </a:p>
        </p:txBody>
      </p:sp>
      <p:sp>
        <p:nvSpPr>
          <p:cNvPr id="42" name="pole tekstowe 41"/>
          <p:cNvSpPr txBox="1"/>
          <p:nvPr/>
        </p:nvSpPr>
        <p:spPr>
          <a:xfrm>
            <a:off x="6833315" y="3554072"/>
            <a:ext cx="3345008" cy="2509808"/>
          </a:xfrm>
          <a:prstGeom prst="rect">
            <a:avLst/>
          </a:prstGeom>
        </p:spPr>
        <p:txBody>
          <a:bodyPr vert="horz" wrap="square" lIns="91440" tIns="45720" rIns="91440" bIns="45720" rtlCol="0" anchor="t">
            <a:noAutofit/>
          </a:bodyPr>
          <a:lstStyle/>
          <a:p>
            <a:pPr algn="l" rtl="0">
              <a:spcBef>
                <a:spcPts val="1200"/>
              </a:spcBef>
              <a:spcAft>
                <a:spcPts val="1200"/>
              </a:spcAft>
              <a:buClr>
                <a:srgbClr val="003087"/>
              </a:buClr>
            </a:pPr>
            <a:r>
              <a:rPr lang="en" sz="2400" b="1" i="0" u="none" baseline="0" dirty="0">
                <a:solidFill>
                  <a:srgbClr val="003087"/>
                </a:solidFill>
                <a:latin typeface="Myriad Pro" panose="020B0503030403020204" pitchFamily="34" charset="0"/>
                <a:ea typeface="Myriad Pro" panose="020B0503030403020204" pitchFamily="34" charset="0"/>
                <a:cs typeface="Myriad Pro" panose="020B0503030403020204" pitchFamily="34" charset="0"/>
              </a:rPr>
              <a:t>25,590 </a:t>
            </a:r>
            <a:r>
              <a:rPr lang="en" sz="2000" b="1" i="0" u="none" baseline="0" dirty="0">
                <a:solidFill>
                  <a:srgbClr val="003087"/>
                </a:solidFill>
                <a:latin typeface="Myriad Pro" panose="020B0503030403020204" pitchFamily="34" charset="0"/>
                <a:ea typeface="Myriad Pro" panose="020B0503030403020204" pitchFamily="34" charset="0"/>
                <a:cs typeface="Myriad Pro" panose="020B0503030403020204" pitchFamily="34" charset="0"/>
              </a:rPr>
              <a:t>million tkm </a:t>
            </a:r>
            <a:r>
              <a:rPr lang="en" sz="2000" b="1" dirty="0">
                <a:solidFill>
                  <a:srgbClr val="003087"/>
                </a:solidFill>
                <a:latin typeface="Myriad Pro" panose="020B0503030403020204" pitchFamily="34" charset="0"/>
              </a:rPr>
              <a:t/>
            </a:r>
            <a:br>
              <a:rPr lang="en" sz="2000" b="1" dirty="0">
                <a:solidFill>
                  <a:srgbClr val="003087"/>
                </a:solidFill>
                <a:latin typeface="Myriad Pro" panose="020B0503030403020204" pitchFamily="34" charset="0"/>
              </a:rPr>
            </a:br>
            <a:r>
              <a:rPr lang="en" b="0" i="0" u="none" baseline="0" dirty="0">
                <a:solidFill>
                  <a:srgbClr val="000000"/>
                </a:solidFill>
                <a:latin typeface="Myriad Pro" panose="020B0503030403020204" pitchFamily="34" charset="0"/>
                <a:ea typeface="Myriad Pro" panose="020B0503030403020204" pitchFamily="34" charset="0"/>
                <a:cs typeface="Myriad Pro" panose="020B0503030403020204" pitchFamily="34" charset="0"/>
              </a:rPr>
              <a:t>freight turnover</a:t>
            </a:r>
          </a:p>
          <a:p>
            <a:pPr algn="l" rtl="0">
              <a:spcBef>
                <a:spcPts val="1200"/>
              </a:spcBef>
              <a:spcAft>
                <a:spcPts val="1200"/>
              </a:spcAft>
              <a:buClr>
                <a:srgbClr val="003087"/>
              </a:buClr>
            </a:pPr>
            <a:r>
              <a:rPr lang="en" sz="2400" b="1" i="0" u="none" baseline="0" dirty="0">
                <a:solidFill>
                  <a:srgbClr val="003087"/>
                </a:solidFill>
                <a:latin typeface="Myriad Pro" panose="020B0503030403020204" pitchFamily="34" charset="0"/>
                <a:ea typeface="Myriad Pro" panose="020B0503030403020204" pitchFamily="34" charset="0"/>
                <a:cs typeface="Myriad Pro" panose="020B0503030403020204" pitchFamily="34" charset="0"/>
              </a:rPr>
              <a:t>101.6 </a:t>
            </a:r>
            <a:r>
              <a:rPr lang="en" sz="2000" b="1" i="0" u="none" baseline="0" dirty="0">
                <a:solidFill>
                  <a:srgbClr val="003087"/>
                </a:solidFill>
                <a:latin typeface="Myriad Pro" panose="020B0503030403020204" pitchFamily="34" charset="0"/>
                <a:ea typeface="Myriad Pro" panose="020B0503030403020204" pitchFamily="34" charset="0"/>
                <a:cs typeface="Myriad Pro" panose="020B0503030403020204" pitchFamily="34" charset="0"/>
              </a:rPr>
              <a:t>million tons </a:t>
            </a:r>
            <a:r>
              <a:rPr lang="en" sz="2000" b="1" dirty="0">
                <a:solidFill>
                  <a:srgbClr val="003087"/>
                </a:solidFill>
                <a:latin typeface="Myriad Pro" panose="020B0503030403020204" pitchFamily="34" charset="0"/>
              </a:rPr>
              <a:t/>
            </a:r>
            <a:br>
              <a:rPr lang="en" sz="2000" b="1" dirty="0">
                <a:solidFill>
                  <a:srgbClr val="003087"/>
                </a:solidFill>
                <a:latin typeface="Myriad Pro" panose="020B0503030403020204" pitchFamily="34" charset="0"/>
              </a:rPr>
            </a:br>
            <a:r>
              <a:rPr lang="en" b="0" i="0" u="none" baseline="0" dirty="0">
                <a:solidFill>
                  <a:srgbClr val="000000"/>
                </a:solidFill>
                <a:latin typeface="Myriad Pro" panose="020B0503030403020204" pitchFamily="34" charset="0"/>
                <a:ea typeface="Myriad Pro" panose="020B0503030403020204" pitchFamily="34" charset="0"/>
                <a:cs typeface="Myriad Pro" panose="020B0503030403020204" pitchFamily="34" charset="0"/>
              </a:rPr>
              <a:t>freight volume</a:t>
            </a:r>
          </a:p>
          <a:p>
            <a:pPr algn="l" rtl="0">
              <a:spcBef>
                <a:spcPts val="1200"/>
              </a:spcBef>
              <a:spcAft>
                <a:spcPts val="1200"/>
              </a:spcAft>
              <a:buClr>
                <a:srgbClr val="003087"/>
              </a:buClr>
            </a:pPr>
            <a:r>
              <a:rPr lang="en" sz="2400" b="1" i="0" u="none" baseline="0" dirty="0">
                <a:solidFill>
                  <a:srgbClr val="003087"/>
                </a:solidFill>
                <a:latin typeface="Myriad Pro" panose="020B0503030403020204" pitchFamily="34" charset="0"/>
                <a:ea typeface="Myriad Pro" panose="020B0503030403020204" pitchFamily="34" charset="0"/>
                <a:cs typeface="Myriad Pro" panose="020B0503030403020204" pitchFamily="34" charset="0"/>
              </a:rPr>
              <a:t>1,206.5 </a:t>
            </a:r>
            <a:r>
              <a:rPr lang="en" b="1" i="0" u="none" baseline="0" dirty="0">
                <a:solidFill>
                  <a:srgbClr val="003087"/>
                </a:solidFill>
                <a:latin typeface="Myriad Pro" panose="020B0503030403020204" pitchFamily="34" charset="0"/>
                <a:ea typeface="Myriad Pro" panose="020B0503030403020204" pitchFamily="34" charset="0"/>
                <a:cs typeface="Myriad Pro" panose="020B0503030403020204" pitchFamily="34" charset="0"/>
              </a:rPr>
              <a:t>thousand tkm </a:t>
            </a:r>
            <a:r>
              <a:rPr lang="en" sz="2000" b="1" dirty="0">
                <a:solidFill>
                  <a:srgbClr val="003087"/>
                </a:solidFill>
                <a:latin typeface="Myriad Pro" panose="020B0503030403020204" pitchFamily="34" charset="0"/>
              </a:rPr>
              <a:t/>
            </a:r>
            <a:br>
              <a:rPr lang="en" sz="2000" b="1" dirty="0">
                <a:solidFill>
                  <a:srgbClr val="003087"/>
                </a:solidFill>
                <a:latin typeface="Myriad Pro" panose="020B0503030403020204" pitchFamily="34" charset="0"/>
              </a:rPr>
            </a:br>
            <a:r>
              <a:rPr lang="en" b="0" i="0" u="none" baseline="0" dirty="0">
                <a:solidFill>
                  <a:srgbClr val="000000"/>
                </a:solidFill>
                <a:latin typeface="Myriad Pro" panose="020B0503030403020204" pitchFamily="34" charset="0"/>
                <a:ea typeface="Myriad Pro" panose="020B0503030403020204" pitchFamily="34" charset="0"/>
                <a:cs typeface="Myriad Pro" panose="020B0503030403020204" pitchFamily="34" charset="0"/>
              </a:rPr>
              <a:t>freight turnover per FTE</a:t>
            </a:r>
            <a:endParaRPr lang="en" b="1" dirty="0">
              <a:solidFill>
                <a:srgbClr val="003087"/>
              </a:solidFill>
              <a:latin typeface="Myriad Pro" panose="020B0503030403020204" pitchFamily="34" charset="0"/>
            </a:endParaRPr>
          </a:p>
        </p:txBody>
      </p:sp>
      <p:pic>
        <p:nvPicPr>
          <p:cNvPr id="15" name="Obraz 14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1613" y="2173754"/>
            <a:ext cx="1265318" cy="1265318"/>
          </a:xfrm>
          <a:prstGeom prst="rect">
            <a:avLst/>
          </a:prstGeom>
        </p:spPr>
      </p:pic>
      <p:pic>
        <p:nvPicPr>
          <p:cNvPr id="18" name="Obraz 17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8270" y="2178222"/>
            <a:ext cx="1256382" cy="1256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273741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umeru slajdu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 rtl="0"/>
            <a:fld id="{022581BA-A277-4FE5-891C-DC92D7F0A26A}" type="slidenum">
              <a:rPr/>
              <a:pPr algn="r" rtl="0"/>
              <a:t>4</a:t>
            </a:fld>
            <a:endParaRPr lang="en" dirty="0"/>
          </a:p>
        </p:txBody>
      </p:sp>
      <p:sp>
        <p:nvSpPr>
          <p:cNvPr id="18" name="Rectangle 550"/>
          <p:cNvSpPr>
            <a:spLocks noChangeArrowheads="1"/>
          </p:cNvSpPr>
          <p:nvPr/>
        </p:nvSpPr>
        <p:spPr bwMode="auto">
          <a:xfrm>
            <a:off x="0" y="0"/>
            <a:ext cx="106934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" altLang="pl-PL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" name="Prostokąt 12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rtl="0"/>
            <a:endParaRPr lang="en" sz="1400" dirty="0">
              <a:latin typeface="Arial Black" panose="020B0A04020102020204" pitchFamily="34" charset="0"/>
              <a:cs typeface="Arial" panose="020B06040202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4" name="Rectangle 11"/>
          <p:cNvSpPr>
            <a:spLocks noChangeArrowheads="1"/>
          </p:cNvSpPr>
          <p:nvPr/>
        </p:nvSpPr>
        <p:spPr bwMode="auto">
          <a:xfrm>
            <a:off x="0" y="0"/>
            <a:ext cx="106934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" altLang="pl-PL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0" name="Rectangle 564"/>
          <p:cNvSpPr>
            <a:spLocks noChangeArrowheads="1"/>
          </p:cNvSpPr>
          <p:nvPr/>
        </p:nvSpPr>
        <p:spPr bwMode="auto">
          <a:xfrm>
            <a:off x="0" y="0"/>
            <a:ext cx="106934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" altLang="pl-PL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2441" name="Rectangle 605"/>
          <p:cNvSpPr>
            <a:spLocks noChangeArrowheads="1"/>
          </p:cNvSpPr>
          <p:nvPr/>
        </p:nvSpPr>
        <p:spPr bwMode="auto">
          <a:xfrm>
            <a:off x="0" y="0"/>
            <a:ext cx="106934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" altLang="pl-PL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3" name="Rectangle 558"/>
          <p:cNvSpPr>
            <a:spLocks noChangeArrowheads="1"/>
          </p:cNvSpPr>
          <p:nvPr/>
        </p:nvSpPr>
        <p:spPr bwMode="auto">
          <a:xfrm>
            <a:off x="0" y="0"/>
            <a:ext cx="106934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" altLang="pl-PL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5" name="Rectangle 561"/>
          <p:cNvSpPr>
            <a:spLocks noChangeArrowheads="1"/>
          </p:cNvSpPr>
          <p:nvPr/>
        </p:nvSpPr>
        <p:spPr bwMode="auto">
          <a:xfrm>
            <a:off x="0" y="0"/>
            <a:ext cx="106934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" altLang="pl-PL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aphicFrame>
        <p:nvGraphicFramePr>
          <p:cNvPr id="15" name="Obiekt 1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1885802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91" name="think-cell Slide" r:id="rId6" imgW="384" imgH="384" progId="TCLayout.ActiveDocument.1">
                  <p:embed/>
                </p:oleObj>
              </mc:Choice>
              <mc:Fallback>
                <p:oleObj name="think-cell Slide" r:id="rId6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tangle 562"/>
          <p:cNvSpPr>
            <a:spLocks noChangeArrowheads="1"/>
          </p:cNvSpPr>
          <p:nvPr/>
        </p:nvSpPr>
        <p:spPr bwMode="auto">
          <a:xfrm>
            <a:off x="5663909" y="272534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" altLang="pl-PL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27" name="Obraz 26" descr="strzalka.png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114" y="798439"/>
            <a:ext cx="540000" cy="727158"/>
          </a:xfrm>
          <a:prstGeom prst="rect">
            <a:avLst/>
          </a:prstGeom>
        </p:spPr>
      </p:pic>
      <p:sp>
        <p:nvSpPr>
          <p:cNvPr id="28" name="object 3"/>
          <p:cNvSpPr txBox="1"/>
          <p:nvPr/>
        </p:nvSpPr>
        <p:spPr>
          <a:xfrm>
            <a:off x="1513319" y="939741"/>
            <a:ext cx="8115954" cy="3206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R="5080" algn="l" rtl="0">
              <a:lnSpc>
                <a:spcPct val="100000"/>
              </a:lnSpc>
              <a:spcBef>
                <a:spcPts val="100"/>
              </a:spcBef>
            </a:pPr>
            <a:r>
              <a:rPr lang="en" sz="2000" b="0" i="0" u="none" baseline="0">
                <a:solidFill>
                  <a:srgbClr val="3A4D98"/>
                </a:solidFill>
                <a:latin typeface="Myriad Pro"/>
                <a:ea typeface="Myriad Pro"/>
                <a:cs typeface="Myriad Pro"/>
              </a:rPr>
              <a:t>Situation in key cargo categories</a:t>
            </a:r>
          </a:p>
        </p:txBody>
      </p:sp>
      <p:sp>
        <p:nvSpPr>
          <p:cNvPr id="58" name="Sześciokąt 57"/>
          <p:cNvSpPr/>
          <p:nvPr/>
        </p:nvSpPr>
        <p:spPr>
          <a:xfrm>
            <a:off x="2258952" y="1759194"/>
            <a:ext cx="7579070" cy="1171204"/>
          </a:xfrm>
          <a:prstGeom prst="hexagon">
            <a:avLst/>
          </a:prstGeom>
          <a:noFill/>
          <a:ln>
            <a:solidFill>
              <a:srgbClr val="074F9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">
              <a:solidFill>
                <a:srgbClr val="FF0000"/>
              </a:solidFill>
            </a:endParaRPr>
          </a:p>
        </p:txBody>
      </p:sp>
      <p:sp>
        <p:nvSpPr>
          <p:cNvPr id="51" name="Sześciokąt 50"/>
          <p:cNvSpPr/>
          <p:nvPr/>
        </p:nvSpPr>
        <p:spPr>
          <a:xfrm>
            <a:off x="900355" y="1761423"/>
            <a:ext cx="1358597" cy="1171204"/>
          </a:xfrm>
          <a:prstGeom prst="hexagon">
            <a:avLst/>
          </a:prstGeom>
          <a:noFill/>
          <a:ln>
            <a:solidFill>
              <a:srgbClr val="074F9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"/>
          </a:p>
        </p:txBody>
      </p:sp>
      <p:sp>
        <p:nvSpPr>
          <p:cNvPr id="20" name="Prostokąt 19"/>
          <p:cNvSpPr/>
          <p:nvPr/>
        </p:nvSpPr>
        <p:spPr>
          <a:xfrm>
            <a:off x="2590478" y="1797148"/>
            <a:ext cx="8268335" cy="119263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l" rtl="0">
              <a:lnSpc>
                <a:spcPct val="150000"/>
              </a:lnSpc>
              <a:spcBef>
                <a:spcPts val="885"/>
              </a:spcBef>
            </a:pPr>
            <a:r>
              <a:rPr lang="en" sz="1100" b="1" i="0" u="none" baseline="0" dirty="0">
                <a:solidFill>
                  <a:srgbClr val="3A4D98"/>
                </a:solidFill>
                <a:latin typeface="Myriad pro"/>
                <a:ea typeface="Myriad pro"/>
                <a:cs typeface="Myriad pro"/>
              </a:rPr>
              <a:t>Solid fuels</a:t>
            </a:r>
          </a:p>
          <a:p>
            <a:pPr marL="184150" indent="-171450" algn="l" rtl="0">
              <a:buFont typeface="Arial" panose="020B0604020202020204" pitchFamily="34" charset="0"/>
              <a:buChar char="•"/>
            </a:pPr>
            <a:r>
              <a:rPr lang="en" sz="1000" b="0" i="0" u="none" baseline="0" dirty="0">
                <a:solidFill>
                  <a:srgbClr val="3A4D98"/>
                </a:solidFill>
                <a:latin typeface="Myriad pro"/>
                <a:ea typeface="Myriad pro"/>
                <a:cs typeface="Myriad pro"/>
              </a:rPr>
              <a:t>increase in electricity generation due to stronger demand from buyers</a:t>
            </a:r>
          </a:p>
          <a:p>
            <a:pPr marL="184150" indent="-171450" algn="l" rtl="0">
              <a:buFont typeface="Arial" panose="020B0604020202020204" pitchFamily="34" charset="0"/>
              <a:buChar char="•"/>
            </a:pPr>
            <a:r>
              <a:rPr lang="en" sz="1000" b="0" i="0" u="none" baseline="0" dirty="0">
                <a:solidFill>
                  <a:srgbClr val="3A4D98"/>
                </a:solidFill>
                <a:latin typeface="Myriad pro"/>
                <a:ea typeface="Myriad pro"/>
                <a:cs typeface="Myriad pro"/>
              </a:rPr>
              <a:t>changes in the energy mix (increased significance of electricity produced from hard coal and decreased significance </a:t>
            </a:r>
            <a:r>
              <a:rPr lang="pl-PL" sz="1000" b="0" i="0" u="none" baseline="0" dirty="0">
                <a:solidFill>
                  <a:srgbClr val="3A4D98"/>
                </a:solidFill>
                <a:latin typeface="Myriad pro"/>
                <a:ea typeface="Myriad pro"/>
                <a:cs typeface="Myriad pro"/>
              </a:rPr>
              <a:t/>
            </a:r>
            <a:br>
              <a:rPr lang="pl-PL" sz="1000" b="0" i="0" u="none" baseline="0" dirty="0">
                <a:solidFill>
                  <a:srgbClr val="3A4D98"/>
                </a:solidFill>
                <a:latin typeface="Myriad pro"/>
                <a:ea typeface="Myriad pro"/>
                <a:cs typeface="Myriad pro"/>
              </a:rPr>
            </a:br>
            <a:r>
              <a:rPr lang="en" sz="1000" b="0" i="0" u="none" baseline="0" dirty="0">
                <a:solidFill>
                  <a:srgbClr val="3A4D98"/>
                </a:solidFill>
                <a:latin typeface="Myriad pro"/>
                <a:ea typeface="Myriad pro"/>
                <a:cs typeface="Myriad pro"/>
              </a:rPr>
              <a:t>of wind and gas-fired energy)</a:t>
            </a:r>
            <a:endParaRPr lang="en" sz="1000" dirty="0">
              <a:solidFill>
                <a:srgbClr val="3A4D98"/>
              </a:solidFill>
              <a:latin typeface="Myriad pro"/>
              <a:cs typeface="Myriad pro"/>
            </a:endParaRPr>
          </a:p>
          <a:p>
            <a:pPr marL="184150" indent="-171450" algn="l" rtl="0">
              <a:buFont typeface="Arial" panose="020B0604020202020204" pitchFamily="34" charset="0"/>
              <a:buChar char="•"/>
            </a:pPr>
            <a:r>
              <a:rPr lang="en" sz="1000" b="0" i="0" u="none" baseline="0" dirty="0">
                <a:solidFill>
                  <a:srgbClr val="3A4D98"/>
                </a:solidFill>
                <a:latin typeface="Myriad pro"/>
                <a:ea typeface="Myriad pro"/>
                <a:cs typeface="Myriad pro"/>
              </a:rPr>
              <a:t>increase in coal production in OKD</a:t>
            </a:r>
          </a:p>
          <a:p>
            <a:pPr marL="184150" indent="-171450" algn="l" rtl="0">
              <a:buFont typeface="Arial" panose="020B0604020202020204" pitchFamily="34" charset="0"/>
              <a:buChar char="•"/>
            </a:pPr>
            <a:r>
              <a:rPr lang="en" sz="1000" b="0" i="0" u="none" baseline="0" dirty="0">
                <a:solidFill>
                  <a:srgbClr val="3A4D98"/>
                </a:solidFill>
                <a:latin typeface="Myriad pro"/>
                <a:ea typeface="Myriad pro"/>
                <a:cs typeface="Myriad pro"/>
              </a:rPr>
              <a:t>declining share of electricity imports</a:t>
            </a:r>
            <a:endParaRPr lang="en" sz="1000" dirty="0"/>
          </a:p>
          <a:p>
            <a:pPr marL="184150" indent="-171450" algn="l" rtl="0">
              <a:buFont typeface="Arial" panose="020B0604020202020204" pitchFamily="34" charset="0"/>
              <a:buChar char="•"/>
            </a:pPr>
            <a:endParaRPr lang="en" sz="1100" dirty="0">
              <a:solidFill>
                <a:srgbClr val="3A4D98"/>
              </a:solidFill>
              <a:latin typeface="Myriad pro"/>
              <a:cs typeface="Myriad pro"/>
            </a:endParaRPr>
          </a:p>
        </p:txBody>
      </p:sp>
      <p:pic>
        <p:nvPicPr>
          <p:cNvPr id="44" name="Picture 3"/>
          <p:cNvPicPr>
            <a:picLocks noChangeAspect="1" noChangeArrowheads="1"/>
          </p:cNvPicPr>
          <p:nvPr/>
        </p:nvPicPr>
        <p:blipFill>
          <a:blip r:embed="rId9">
            <a:duotone>
              <a:srgbClr val="005BAB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0127" y="2041891"/>
            <a:ext cx="941585" cy="6652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0" name="Sześciokąt 59"/>
          <p:cNvSpPr/>
          <p:nvPr/>
        </p:nvSpPr>
        <p:spPr>
          <a:xfrm>
            <a:off x="2258952" y="3047005"/>
            <a:ext cx="7579070" cy="1171204"/>
          </a:xfrm>
          <a:prstGeom prst="hexagon">
            <a:avLst/>
          </a:prstGeom>
          <a:noFill/>
          <a:ln>
            <a:solidFill>
              <a:srgbClr val="4E72B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"/>
          </a:p>
        </p:txBody>
      </p:sp>
      <p:sp>
        <p:nvSpPr>
          <p:cNvPr id="52" name="Sześciokąt 51"/>
          <p:cNvSpPr/>
          <p:nvPr/>
        </p:nvSpPr>
        <p:spPr>
          <a:xfrm>
            <a:off x="900355" y="3048491"/>
            <a:ext cx="1358597" cy="1171204"/>
          </a:xfrm>
          <a:prstGeom prst="hexagon">
            <a:avLst/>
          </a:prstGeom>
          <a:noFill/>
          <a:ln>
            <a:solidFill>
              <a:srgbClr val="4E72B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"/>
          </a:p>
        </p:txBody>
      </p:sp>
      <p:sp>
        <p:nvSpPr>
          <p:cNvPr id="48" name="object 16"/>
          <p:cNvSpPr txBox="1"/>
          <p:nvPr/>
        </p:nvSpPr>
        <p:spPr>
          <a:xfrm>
            <a:off x="2590478" y="3140295"/>
            <a:ext cx="7038795" cy="102335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l" rtl="0">
              <a:lnSpc>
                <a:spcPct val="150000"/>
              </a:lnSpc>
              <a:spcBef>
                <a:spcPts val="885"/>
              </a:spcBef>
            </a:pPr>
            <a:r>
              <a:rPr lang="en" sz="1100" b="1" i="0" u="none" baseline="0">
                <a:solidFill>
                  <a:srgbClr val="3A4D98"/>
                </a:solidFill>
                <a:latin typeface="Myriad pro"/>
                <a:ea typeface="Myriad pro"/>
                <a:cs typeface="Myriad pro"/>
              </a:rPr>
              <a:t>Construction materials and aggregates </a:t>
            </a:r>
          </a:p>
          <a:p>
            <a:pPr marL="171450" lvl="0" indent="-171450" algn="l" rtl="0" fontAlgn="base">
              <a:buClr>
                <a:srgbClr val="4E72B7"/>
              </a:buClr>
              <a:buSzPct val="150000"/>
              <a:buFont typeface="Arial" panose="020B0604020202020204" pitchFamily="34" charset="0"/>
              <a:buChar char="•"/>
              <a:tabLst>
                <a:tab pos="228600" algn="l"/>
                <a:tab pos="449263" algn="l"/>
              </a:tabLst>
            </a:pPr>
            <a:r>
              <a:rPr lang="en" sz="1000" b="0" i="0" u="none" baseline="0">
                <a:solidFill>
                  <a:srgbClr val="3A4D98"/>
                </a:solidFill>
                <a:latin typeface="Myriad pro"/>
                <a:ea typeface="Myriad pro"/>
                <a:cs typeface="Myriad pro"/>
              </a:rPr>
              <a:t>increased customer demand for construction stone due to the increase in the quantum of transport for the construction of road projects</a:t>
            </a:r>
          </a:p>
          <a:p>
            <a:pPr marL="171450" lvl="0" indent="-171450" algn="l" rtl="0" fontAlgn="base">
              <a:buClr>
                <a:srgbClr val="4E72B7"/>
              </a:buClr>
              <a:buSzPct val="150000"/>
              <a:buFont typeface="Arial" panose="020B0604020202020204" pitchFamily="34" charset="0"/>
              <a:buChar char="•"/>
              <a:tabLst>
                <a:tab pos="228600" algn="l"/>
                <a:tab pos="449263" algn="l"/>
              </a:tabLst>
            </a:pPr>
            <a:r>
              <a:rPr lang="en" sz="1000" b="0" i="0" u="none" baseline="0">
                <a:solidFill>
                  <a:srgbClr val="3A4D98"/>
                </a:solidFill>
                <a:latin typeface="Myriad pro"/>
                <a:ea typeface="Myriad pro"/>
                <a:cs typeface="Myriad pro"/>
              </a:rPr>
              <a:t>stronger customer demand for repairs and modernization of railway routes </a:t>
            </a:r>
          </a:p>
          <a:p>
            <a:pPr marL="171450" lvl="0" indent="-171450" algn="l" rtl="0" fontAlgn="base">
              <a:buClr>
                <a:srgbClr val="4E72B7"/>
              </a:buClr>
              <a:buSzPct val="150000"/>
              <a:buFont typeface="Arial" panose="020B0604020202020204" pitchFamily="34" charset="0"/>
              <a:buChar char="•"/>
              <a:tabLst>
                <a:tab pos="228600" algn="l"/>
                <a:tab pos="449263" algn="l"/>
              </a:tabLst>
            </a:pPr>
            <a:r>
              <a:rPr lang="en" sz="1000" b="0" i="0" u="none" baseline="0">
                <a:solidFill>
                  <a:srgbClr val="3A4D98"/>
                </a:solidFill>
                <a:latin typeface="Myriad pro"/>
                <a:ea typeface="Myriad pro"/>
                <a:cs typeface="Myriad pro"/>
              </a:rPr>
              <a:t>increased haul distance of aggregates, among others for the construction of S7 and the </a:t>
            </a:r>
            <a:r>
              <a:rPr lang="en" sz="1000" b="0" i="1" u="none" baseline="0">
                <a:solidFill>
                  <a:srgbClr val="3A4D98"/>
                </a:solidFill>
                <a:latin typeface="Myriad pro"/>
                <a:ea typeface="Myriad pro"/>
                <a:cs typeface="Myriad pro"/>
              </a:rPr>
              <a:t>Rail Baltica </a:t>
            </a:r>
            <a:r>
              <a:rPr lang="en" sz="1000" b="0" i="0" u="none" baseline="0">
                <a:solidFill>
                  <a:srgbClr val="3A4D98"/>
                </a:solidFill>
                <a:latin typeface="Myriad pro"/>
                <a:ea typeface="Myriad pro"/>
                <a:cs typeface="Myriad pro"/>
              </a:rPr>
              <a:t>rail line</a:t>
            </a:r>
            <a:endParaRPr lang="en" altLang="pl-PL" sz="1000" dirty="0">
              <a:solidFill>
                <a:srgbClr val="3A4D98"/>
              </a:solidFill>
              <a:latin typeface="Myriad pro"/>
              <a:cs typeface="Myriad pro"/>
            </a:endParaRPr>
          </a:p>
          <a:p>
            <a:pPr marL="171450" indent="-171450" algn="l" rtl="0" fontAlgn="base">
              <a:buClr>
                <a:srgbClr val="4E72B7"/>
              </a:buClr>
              <a:buSzPct val="150000"/>
              <a:buFont typeface="Arial" panose="020B0604020202020204" pitchFamily="34" charset="0"/>
              <a:buChar char="•"/>
              <a:tabLst>
                <a:tab pos="228600" algn="l"/>
                <a:tab pos="449263" algn="l"/>
              </a:tabLst>
            </a:pPr>
            <a:r>
              <a:rPr lang="en" sz="1000" b="0" i="0" u="none" baseline="0">
                <a:solidFill>
                  <a:srgbClr val="3A4D98"/>
                </a:solidFill>
                <a:latin typeface="Myriad pro"/>
                <a:ea typeface="Myriad pro"/>
                <a:cs typeface="Myriad pro"/>
              </a:rPr>
              <a:t>increased volume of clinker and limestone transports to the Czech Republic</a:t>
            </a:r>
          </a:p>
        </p:txBody>
      </p:sp>
      <p:pic>
        <p:nvPicPr>
          <p:cNvPr id="45" name="Picture 4"/>
          <p:cNvPicPr>
            <a:picLocks noChangeAspect="1" noChangeArrowheads="1"/>
          </p:cNvPicPr>
          <p:nvPr/>
        </p:nvPicPr>
        <p:blipFill>
          <a:blip r:embed="rId10">
            <a:duotone>
              <a:srgbClr val="005BAB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7286" y="3270905"/>
            <a:ext cx="953353" cy="6942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9" name="Sześciokąt 58"/>
          <p:cNvSpPr/>
          <p:nvPr/>
        </p:nvSpPr>
        <p:spPr>
          <a:xfrm>
            <a:off x="2258952" y="4334816"/>
            <a:ext cx="7579070" cy="1171204"/>
          </a:xfrm>
          <a:prstGeom prst="hexagon">
            <a:avLst/>
          </a:prstGeom>
          <a:noFill/>
          <a:ln>
            <a:solidFill>
              <a:srgbClr val="55545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"/>
          </a:p>
        </p:txBody>
      </p:sp>
      <p:sp>
        <p:nvSpPr>
          <p:cNvPr id="53" name="Sześciokąt 52"/>
          <p:cNvSpPr/>
          <p:nvPr/>
        </p:nvSpPr>
        <p:spPr>
          <a:xfrm>
            <a:off x="900355" y="4335559"/>
            <a:ext cx="1358597" cy="1171204"/>
          </a:xfrm>
          <a:prstGeom prst="hexagon">
            <a:avLst/>
          </a:prstGeom>
          <a:noFill/>
          <a:ln>
            <a:solidFill>
              <a:srgbClr val="55545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"/>
          </a:p>
        </p:txBody>
      </p:sp>
      <p:sp>
        <p:nvSpPr>
          <p:cNvPr id="49" name="object 16"/>
          <p:cNvSpPr txBox="1"/>
          <p:nvPr/>
        </p:nvSpPr>
        <p:spPr>
          <a:xfrm>
            <a:off x="2590478" y="4398699"/>
            <a:ext cx="7038795" cy="86946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"/>
            </a:defPPr>
            <a:lvl1pPr marL="12700">
              <a:lnSpc>
                <a:spcPct val="150000"/>
              </a:lnSpc>
              <a:spcBef>
                <a:spcPts val="885"/>
              </a:spcBef>
              <a:defRPr sz="1100" b="1">
                <a:solidFill>
                  <a:srgbClr val="3A4D98"/>
                </a:solidFill>
                <a:latin typeface="Myriad pro"/>
                <a:cs typeface="Myriad pro"/>
              </a:defRPr>
            </a:lvl1pPr>
          </a:lstStyle>
          <a:p>
            <a:pPr algn="l" rtl="0"/>
            <a:r>
              <a:rPr lang="en" b="1" i="0" u="none" baseline="0"/>
              <a:t>Intermodal transport</a:t>
            </a:r>
          </a:p>
          <a:p>
            <a:pPr marL="171450" lvl="0" indent="-171450" algn="just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" sz="1000" b="0" i="0" u="none" baseline="0"/>
              <a:t>increased volume of transport of semi-trailers as part of operator connections to Duisburg and from Lithuania to the Netherlands</a:t>
            </a:r>
          </a:p>
          <a:p>
            <a:pPr marL="171450" lvl="0" indent="-171450" algn="just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" sz="1000" b="0" i="0" u="none" baseline="0"/>
              <a:t>launch of an intermodal connection to Turkey in cooperation with PKP CARGO CONNECT </a:t>
            </a:r>
          </a:p>
          <a:p>
            <a:pPr marL="171450" lvl="0" indent="-171450" algn="just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" sz="1000" b="0" i="0" u="none" baseline="0"/>
              <a:t>lower volume of transported woodchips</a:t>
            </a:r>
          </a:p>
          <a:p>
            <a:pPr marL="171450" lvl="0" indent="-171450" algn="just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" sz="1000" b="0" i="0" u="none" baseline="0"/>
              <a:t>decline in transport services on the New Silk Road due to the reduced capacity of rail routes</a:t>
            </a:r>
            <a:endParaRPr lang="en" altLang="pl-PL" b="0" dirty="0"/>
          </a:p>
        </p:txBody>
      </p:sp>
      <p:pic>
        <p:nvPicPr>
          <p:cNvPr id="43" name="Picture 2"/>
          <p:cNvPicPr>
            <a:picLocks noChangeAspect="1" noChangeArrowheads="1"/>
          </p:cNvPicPr>
          <p:nvPr/>
        </p:nvPicPr>
        <p:blipFill>
          <a:blip r:embed="rId11">
            <a:duotone>
              <a:srgbClr val="005BAB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9858" y="4512441"/>
            <a:ext cx="975671" cy="8498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0" name="object 16"/>
          <p:cNvSpPr txBox="1"/>
          <p:nvPr/>
        </p:nvSpPr>
        <p:spPr>
          <a:xfrm>
            <a:off x="2590478" y="5614948"/>
            <a:ext cx="7247544" cy="102335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"/>
            </a:defPPr>
            <a:lvl1pPr marL="12700">
              <a:lnSpc>
                <a:spcPct val="150000"/>
              </a:lnSpc>
              <a:spcBef>
                <a:spcPts val="885"/>
              </a:spcBef>
              <a:defRPr sz="1100" b="1">
                <a:solidFill>
                  <a:srgbClr val="3A4D98"/>
                </a:solidFill>
                <a:latin typeface="Myriad pro"/>
                <a:cs typeface="Myriad pro"/>
              </a:defRPr>
            </a:lvl1pPr>
          </a:lstStyle>
          <a:p>
            <a:pPr algn="l" rtl="0"/>
            <a:r>
              <a:rPr lang="en" b="1" i="0" u="none" baseline="0"/>
              <a:t>Metals and ores</a:t>
            </a:r>
          </a:p>
          <a:p>
            <a:pPr marL="184150" lvl="0" indent="-17145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" sz="1000" b="0" i="0" u="none" baseline="0"/>
              <a:t>greater demand for steel products</a:t>
            </a:r>
          </a:p>
          <a:p>
            <a:pPr marL="184150" lvl="0" indent="-17145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" sz="1000" b="0" i="0" u="none" baseline="0"/>
              <a:t>increase in steel imports from within and without the EU </a:t>
            </a:r>
          </a:p>
          <a:p>
            <a:pPr marL="184150" lvl="0" indent="-17145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" sz="1000" b="0" i="0" u="none" baseline="0"/>
              <a:t>decrease in the volume of PKP CARGO INTERNATIONAL’s transport services due to the reduced output of Czech steelworks and the takeover of a portion of the transport market by another rail operator in the Czech Republic</a:t>
            </a:r>
          </a:p>
          <a:p>
            <a:pPr marL="184150" lvl="0" indent="-171450" algn="l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" sz="1000" b="0" i="0" u="none" baseline="0"/>
              <a:t>decrease in the average haul caused by a shorter haul of transported metals</a:t>
            </a:r>
          </a:p>
        </p:txBody>
      </p:sp>
      <p:sp>
        <p:nvSpPr>
          <p:cNvPr id="54" name="Sześciokąt 53"/>
          <p:cNvSpPr/>
          <p:nvPr/>
        </p:nvSpPr>
        <p:spPr>
          <a:xfrm>
            <a:off x="900355" y="5622626"/>
            <a:ext cx="1358597" cy="1171204"/>
          </a:xfrm>
          <a:prstGeom prst="hexagon">
            <a:avLst/>
          </a:prstGeom>
          <a:noFill/>
          <a:ln>
            <a:solidFill>
              <a:srgbClr val="8E9ED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"/>
          </a:p>
        </p:txBody>
      </p:sp>
      <p:sp>
        <p:nvSpPr>
          <p:cNvPr id="61" name="Sześciokąt 60"/>
          <p:cNvSpPr/>
          <p:nvPr/>
        </p:nvSpPr>
        <p:spPr>
          <a:xfrm>
            <a:off x="2258952" y="5622626"/>
            <a:ext cx="7579070" cy="1171204"/>
          </a:xfrm>
          <a:prstGeom prst="hexagon">
            <a:avLst/>
          </a:prstGeom>
          <a:noFill/>
          <a:ln>
            <a:solidFill>
              <a:srgbClr val="8E9ED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"/>
          </a:p>
        </p:txBody>
      </p:sp>
      <p:pic>
        <p:nvPicPr>
          <p:cNvPr id="46" name="Picture 5"/>
          <p:cNvPicPr>
            <a:picLocks noChangeAspect="1" noChangeArrowheads="1"/>
          </p:cNvPicPr>
          <p:nvPr/>
        </p:nvPicPr>
        <p:blipFill>
          <a:blip r:embed="rId12">
            <a:duotone>
              <a:srgbClr val="005BAB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6536" y="5756847"/>
            <a:ext cx="918243" cy="9220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4657270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umeru slajdu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 rtl="0"/>
            <a:fld id="{022581BA-A277-4FE5-891C-DC92D7F0A26A}" type="slidenum">
              <a:rPr/>
              <a:pPr algn="r" rtl="0"/>
              <a:t>5</a:t>
            </a:fld>
            <a:endParaRPr lang="en" dirty="0"/>
          </a:p>
        </p:txBody>
      </p:sp>
      <p:sp>
        <p:nvSpPr>
          <p:cNvPr id="13" name="Prostokąt 12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rtl="0"/>
            <a:endParaRPr lang="en" sz="1400" b="1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" name="Prostokąt 7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rtl="0"/>
            <a:endParaRPr lang="en" sz="1200" dirty="0">
              <a:latin typeface="Arial Black" panose="020B0A04020102020204" pitchFamily="34" charset="0"/>
              <a:sym typeface="Arial Black" panose="020B0A04020102020204" pitchFamily="34" charset="0"/>
            </a:endParaRPr>
          </a:p>
        </p:txBody>
      </p:sp>
      <p:graphicFrame>
        <p:nvGraphicFramePr>
          <p:cNvPr id="15" name="Obiekt 1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88341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859" name="think-cell Slide" r:id="rId18" imgW="384" imgH="384" progId="TCLayout.ActiveDocument.1">
                  <p:embed/>
                </p:oleObj>
              </mc:Choice>
              <mc:Fallback>
                <p:oleObj name="think-cell Slide" r:id="rId18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0" name="Obraz 99" descr="strzalka.png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114" y="798439"/>
            <a:ext cx="540000" cy="727158"/>
          </a:xfrm>
          <a:prstGeom prst="rect">
            <a:avLst/>
          </a:prstGeom>
        </p:spPr>
      </p:pic>
      <p:sp>
        <p:nvSpPr>
          <p:cNvPr id="102" name="object 3"/>
          <p:cNvSpPr txBox="1"/>
          <p:nvPr/>
        </p:nvSpPr>
        <p:spPr>
          <a:xfrm>
            <a:off x="1311965" y="802904"/>
            <a:ext cx="8086477" cy="62837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R="5080" algn="l" rtl="0">
              <a:spcBef>
                <a:spcPts val="100"/>
              </a:spcBef>
            </a:pPr>
            <a:r>
              <a:rPr lang="en" sz="2000" b="0" i="0" u="none" baseline="0" dirty="0">
                <a:solidFill>
                  <a:srgbClr val="3A4D98"/>
                </a:solidFill>
                <a:latin typeface="Myriad Pro"/>
                <a:ea typeface="Myriad Pro"/>
                <a:cs typeface="Myriad Pro"/>
              </a:rPr>
              <a:t>Structure of transport of key cargo categories </a:t>
            </a:r>
            <a:r>
              <a:rPr lang="en" sz="2000" dirty="0">
                <a:solidFill>
                  <a:srgbClr val="3A4D98"/>
                </a:solidFill>
                <a:latin typeface="Myriad Pro"/>
                <a:cs typeface="Myriad Pro"/>
              </a:rPr>
              <a:t/>
            </a:r>
            <a:br>
              <a:rPr lang="en" sz="2000" dirty="0">
                <a:solidFill>
                  <a:srgbClr val="3A4D98"/>
                </a:solidFill>
                <a:latin typeface="Myriad Pro"/>
                <a:cs typeface="Myriad Pro"/>
              </a:rPr>
            </a:br>
            <a:r>
              <a:rPr lang="en" sz="2000" b="0" i="0" u="none" baseline="0" dirty="0">
                <a:solidFill>
                  <a:srgbClr val="3A4D98"/>
                </a:solidFill>
                <a:latin typeface="Myriad Pro"/>
                <a:ea typeface="Myriad Pro"/>
                <a:cs typeface="Myriad Pro"/>
              </a:rPr>
              <a:t>in 2016-2021</a:t>
            </a:r>
          </a:p>
        </p:txBody>
      </p:sp>
      <p:sp>
        <p:nvSpPr>
          <p:cNvPr id="54" name="object 48"/>
          <p:cNvSpPr txBox="1"/>
          <p:nvPr/>
        </p:nvSpPr>
        <p:spPr>
          <a:xfrm>
            <a:off x="1311965" y="1959997"/>
            <a:ext cx="4725780" cy="57451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3970">
              <a:spcBef>
                <a:spcPts val="100"/>
              </a:spcBef>
            </a:pPr>
            <a:r>
              <a:rPr lang="en" sz="1200" b="1" i="0" u="none" spc="5" baseline="0" dirty="0">
                <a:solidFill>
                  <a:srgbClr val="3A4D98"/>
                </a:solidFill>
                <a:latin typeface="Myriad Pro"/>
                <a:ea typeface="Myriad Pro"/>
                <a:cs typeface="Myriad Pro"/>
              </a:rPr>
              <a:t>FREIGHT TURNOVER</a:t>
            </a:r>
            <a:r>
              <a:rPr lang="pl-PL" sz="1200" b="1" i="0" u="none" spc="5" baseline="0" dirty="0">
                <a:solidFill>
                  <a:srgbClr val="3A4D98"/>
                </a:solidFill>
                <a:latin typeface="Myriad Pro"/>
                <a:ea typeface="Myriad Pro"/>
                <a:cs typeface="Myriad Pro"/>
              </a:rPr>
              <a:t> OF THE </a:t>
            </a:r>
            <a:r>
              <a:rPr lang="en" sz="1200" b="1" spc="5" dirty="0">
                <a:solidFill>
                  <a:srgbClr val="3A4D98"/>
                </a:solidFill>
                <a:latin typeface="Myriad Pro"/>
                <a:ea typeface="Myriad Pro"/>
                <a:cs typeface="Myriad Pro"/>
              </a:rPr>
              <a:t>PKP CARGO GROUP</a:t>
            </a:r>
            <a:endParaRPr lang="en" sz="1200" b="1" i="0" u="none" spc="5" baseline="0" dirty="0">
              <a:solidFill>
                <a:srgbClr val="3A4D98"/>
              </a:solidFill>
              <a:latin typeface="Myriad Pro"/>
              <a:ea typeface="Myriad Pro"/>
              <a:cs typeface="Myriad Pro"/>
            </a:endParaRPr>
          </a:p>
          <a:p>
            <a:pPr marL="13970" algn="l" rtl="0">
              <a:spcBef>
                <a:spcPts val="100"/>
              </a:spcBef>
            </a:pPr>
            <a:r>
              <a:rPr lang="en" sz="1200" b="1" i="0" u="none" spc="5" baseline="0" dirty="0">
                <a:solidFill>
                  <a:srgbClr val="3A4D98"/>
                </a:solidFill>
                <a:latin typeface="Myriad Pro"/>
                <a:ea typeface="Myriad Pro"/>
                <a:cs typeface="Myriad Pro"/>
              </a:rPr>
              <a:t>2016 - 2021</a:t>
            </a:r>
          </a:p>
          <a:p>
            <a:pPr marL="12700" algn="l" rtl="0">
              <a:lnSpc>
                <a:spcPts val="1390"/>
              </a:lnSpc>
            </a:pPr>
            <a:r>
              <a:rPr lang="en" sz="1200" b="0" i="0" u="none" spc="-20" baseline="0" dirty="0">
                <a:solidFill>
                  <a:srgbClr val="454545"/>
                </a:solidFill>
                <a:latin typeface="Arial"/>
                <a:ea typeface="Arial"/>
                <a:cs typeface="Arial"/>
              </a:rPr>
              <a:t>billion</a:t>
            </a:r>
            <a:r>
              <a:rPr lang="en" sz="1200" b="0" i="0" u="none" spc="-65" baseline="0" dirty="0">
                <a:solidFill>
                  <a:srgbClr val="454545"/>
                </a:solidFill>
                <a:latin typeface="Arial"/>
                <a:ea typeface="Arial"/>
                <a:cs typeface="Arial"/>
              </a:rPr>
              <a:t> </a:t>
            </a:r>
            <a:r>
              <a:rPr lang="en" sz="1200" b="0" i="0" u="none" spc="-35" baseline="0" dirty="0">
                <a:solidFill>
                  <a:srgbClr val="454545"/>
                </a:solidFill>
                <a:latin typeface="Arial"/>
                <a:ea typeface="Arial"/>
                <a:cs typeface="Arial"/>
              </a:rPr>
              <a:t>tkm</a:t>
            </a:r>
            <a:endParaRPr sz="1200" dirty="0">
              <a:solidFill>
                <a:srgbClr val="454545"/>
              </a:solidFill>
              <a:latin typeface="Arial"/>
              <a:cs typeface="Arial"/>
            </a:endParaRPr>
          </a:p>
        </p:txBody>
      </p:sp>
      <p:sp>
        <p:nvSpPr>
          <p:cNvPr id="40" name="object 7"/>
          <p:cNvSpPr/>
          <p:nvPr/>
        </p:nvSpPr>
        <p:spPr>
          <a:xfrm>
            <a:off x="8342982" y="2631305"/>
            <a:ext cx="114300" cy="620713"/>
          </a:xfrm>
          <a:custGeom>
            <a:avLst/>
            <a:gdLst/>
            <a:ahLst/>
            <a:cxnLst/>
            <a:rect l="l" t="t" r="r" b="b"/>
            <a:pathLst>
              <a:path w="113664" h="620394">
                <a:moveTo>
                  <a:pt x="0" y="620382"/>
                </a:moveTo>
                <a:lnTo>
                  <a:pt x="113042" y="620382"/>
                </a:lnTo>
                <a:lnTo>
                  <a:pt x="113042" y="0"/>
                </a:lnTo>
                <a:lnTo>
                  <a:pt x="0" y="0"/>
                </a:lnTo>
                <a:lnTo>
                  <a:pt x="0" y="620382"/>
                </a:lnTo>
                <a:close/>
              </a:path>
            </a:pathLst>
          </a:custGeom>
          <a:solidFill>
            <a:srgbClr val="004F9F"/>
          </a:solidFill>
          <a:ln w="31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lang="en" dirty="0">
              <a:solidFill>
                <a:srgbClr val="3A4D98"/>
              </a:solidFill>
            </a:endParaRPr>
          </a:p>
        </p:txBody>
      </p:sp>
      <p:sp>
        <p:nvSpPr>
          <p:cNvPr id="43" name="object 24"/>
          <p:cNvSpPr txBox="1"/>
          <p:nvPr/>
        </p:nvSpPr>
        <p:spPr>
          <a:xfrm>
            <a:off x="8587672" y="2833736"/>
            <a:ext cx="1705037" cy="290464"/>
          </a:xfrm>
          <a:prstGeom prst="rect">
            <a:avLst/>
          </a:prstGeom>
        </p:spPr>
        <p:txBody>
          <a:bodyPr vert="horz" wrap="square" lIns="0" tIns="112395" rIns="0" bIns="0" rtlCol="0">
            <a:spAutoFit/>
          </a:bodyPr>
          <a:lstStyle/>
          <a:p>
            <a:pPr marL="12700" algn="l" rtl="0">
              <a:lnSpc>
                <a:spcPct val="100000"/>
              </a:lnSpc>
              <a:spcBef>
                <a:spcPts val="885"/>
              </a:spcBef>
            </a:pPr>
            <a:r>
              <a:rPr lang="en" sz="1150" b="0" i="0" u="none" baseline="0">
                <a:solidFill>
                  <a:srgbClr val="3A4D98"/>
                </a:solidFill>
                <a:latin typeface="Myriad pro"/>
                <a:ea typeface="Myriad pro"/>
                <a:cs typeface="Myriad pro"/>
              </a:rPr>
              <a:t>Hard coal</a:t>
            </a:r>
          </a:p>
        </p:txBody>
      </p:sp>
      <p:sp>
        <p:nvSpPr>
          <p:cNvPr id="79" name="Prostokąt 78"/>
          <p:cNvSpPr/>
          <p:nvPr>
            <p:custDataLst>
              <p:tags r:id="rId4"/>
            </p:custDataLst>
          </p:nvPr>
        </p:nvSpPr>
        <p:spPr bwMode="gray">
          <a:xfrm>
            <a:off x="3281363" y="2881313"/>
            <a:ext cx="366713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 rtl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74D47D0-0FCE-458B-BD3F-77AC3BDC8276}" type="datetime'31.4'">
              <a:rPr sz="1400">
                <a:solidFill>
                  <a:schemeClr val="tx1"/>
                </a:solidFill>
              </a:rPr>
              <a:pPr/>
              <a:t>31.4</a:t>
            </a:fld>
            <a:endParaRPr lang="en" sz="1400">
              <a:solidFill>
                <a:schemeClr val="tx1"/>
              </a:solidFill>
              <a:sym typeface="Arial Black" panose="020B0A04020102020204" pitchFamily="34" charset="0"/>
            </a:endParaRPr>
          </a:p>
        </p:txBody>
      </p:sp>
      <p:sp>
        <p:nvSpPr>
          <p:cNvPr id="78" name="Prostokąt 77"/>
          <p:cNvSpPr/>
          <p:nvPr>
            <p:custDataLst>
              <p:tags r:id="rId5"/>
            </p:custDataLst>
          </p:nvPr>
        </p:nvSpPr>
        <p:spPr bwMode="gray">
          <a:xfrm>
            <a:off x="2112963" y="2913063"/>
            <a:ext cx="366713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 rtl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CDC93A4-5F44-419A-91B6-514736104181}" type="datetime'31.0'">
              <a:rPr sz="1400">
                <a:solidFill>
                  <a:schemeClr val="tx1"/>
                </a:solidFill>
              </a:rPr>
              <a:pPr/>
              <a:t>31.0</a:t>
            </a:fld>
            <a:endParaRPr lang="en" sz="1400" dirty="0">
              <a:solidFill>
                <a:schemeClr val="tx1"/>
              </a:solidFill>
              <a:sym typeface="Arial Black" panose="020B0A04020102020204" pitchFamily="34" charset="0"/>
            </a:endParaRPr>
          </a:p>
        </p:txBody>
      </p:sp>
      <p:graphicFrame>
        <p:nvGraphicFramePr>
          <p:cNvPr id="101" name="Chart 3"/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988995061"/>
              </p:ext>
            </p:extLst>
          </p:nvPr>
        </p:nvGraphicFramePr>
        <p:xfrm>
          <a:off x="461963" y="3016250"/>
          <a:ext cx="7175500" cy="2833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1"/>
          </a:graphicData>
        </a:graphic>
      </p:graphicFrame>
      <p:sp>
        <p:nvSpPr>
          <p:cNvPr id="70" name="Prostokąt 69"/>
          <p:cNvSpPr/>
          <p:nvPr>
            <p:custDataLst>
              <p:tags r:id="rId7"/>
            </p:custDataLst>
          </p:nvPr>
        </p:nvSpPr>
        <p:spPr bwMode="gray">
          <a:xfrm>
            <a:off x="944563" y="3125788"/>
            <a:ext cx="366713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 rtl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7583465-5B87-4CD7-887B-3C87B443D89B}" type="datetime'28.5'">
              <a:rPr sz="1400">
                <a:solidFill>
                  <a:schemeClr val="tx1"/>
                </a:solidFill>
              </a:rPr>
              <a:pPr/>
              <a:t>28.5</a:t>
            </a:fld>
            <a:endParaRPr lang="en" sz="1400" dirty="0">
              <a:solidFill>
                <a:schemeClr val="tx1"/>
              </a:solidFill>
              <a:sym typeface="Arial Black" panose="020B0A04020102020204" pitchFamily="34" charset="0"/>
            </a:endParaRPr>
          </a:p>
        </p:txBody>
      </p:sp>
      <p:sp>
        <p:nvSpPr>
          <p:cNvPr id="80" name="Prostokąt 79"/>
          <p:cNvSpPr/>
          <p:nvPr>
            <p:custDataLst>
              <p:tags r:id="rId8"/>
            </p:custDataLst>
          </p:nvPr>
        </p:nvSpPr>
        <p:spPr bwMode="gray">
          <a:xfrm>
            <a:off x="4449763" y="3265488"/>
            <a:ext cx="366713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 rtl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F6DCE1D-8A07-4FD0-96E2-7AED985DF2F7}" type="datetime'26.9'">
              <a:rPr sz="1400">
                <a:solidFill>
                  <a:schemeClr val="tx1"/>
                </a:solidFill>
              </a:rPr>
              <a:pPr/>
              <a:t>26.9</a:t>
            </a:fld>
            <a:endParaRPr lang="en" sz="1400" dirty="0">
              <a:solidFill>
                <a:schemeClr val="tx1"/>
              </a:solidFill>
              <a:sym typeface="Arial Black" panose="020B0A04020102020204" pitchFamily="34" charset="0"/>
            </a:endParaRPr>
          </a:p>
        </p:txBody>
      </p:sp>
      <p:sp>
        <p:nvSpPr>
          <p:cNvPr id="12" name="Prostokąt 11"/>
          <p:cNvSpPr/>
          <p:nvPr>
            <p:custDataLst>
              <p:tags r:id="rId9"/>
            </p:custDataLst>
          </p:nvPr>
        </p:nvSpPr>
        <p:spPr bwMode="gray">
          <a:xfrm>
            <a:off x="6786563" y="3373438"/>
            <a:ext cx="366713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/>
          <a:lstStyle/>
          <a:p>
            <a:pPr algn="ctr" rtl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585F642-7E1E-4B8A-910B-7F5AC446D0A9}" type="datetime'25.6'">
              <a:rPr sz="1400">
                <a:solidFill>
                  <a:schemeClr val="tx1"/>
                </a:solidFill>
              </a:rPr>
              <a:pPr/>
              <a:t>25.6</a:t>
            </a:fld>
            <a:endParaRPr lang="en" sz="1400">
              <a:solidFill>
                <a:schemeClr val="tx1"/>
              </a:solidFill>
              <a:sym typeface="+mn-lt"/>
            </a:endParaRPr>
          </a:p>
        </p:txBody>
      </p:sp>
      <p:sp>
        <p:nvSpPr>
          <p:cNvPr id="41" name="object 8"/>
          <p:cNvSpPr/>
          <p:nvPr/>
        </p:nvSpPr>
        <p:spPr>
          <a:xfrm>
            <a:off x="8342982" y="3377430"/>
            <a:ext cx="114300" cy="620713"/>
          </a:xfrm>
          <a:custGeom>
            <a:avLst/>
            <a:gdLst/>
            <a:ahLst/>
            <a:cxnLst/>
            <a:rect l="l" t="t" r="r" b="b"/>
            <a:pathLst>
              <a:path w="113664" h="620395">
                <a:moveTo>
                  <a:pt x="0" y="620382"/>
                </a:moveTo>
                <a:lnTo>
                  <a:pt x="113042" y="620382"/>
                </a:lnTo>
                <a:lnTo>
                  <a:pt x="113042" y="0"/>
                </a:lnTo>
                <a:lnTo>
                  <a:pt x="0" y="0"/>
                </a:lnTo>
                <a:lnTo>
                  <a:pt x="0" y="620382"/>
                </a:lnTo>
                <a:close/>
              </a:path>
            </a:pathLst>
          </a:custGeom>
          <a:solidFill>
            <a:srgbClr val="4E72B7"/>
          </a:solidFill>
          <a:ln w="31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lang="en" dirty="0">
              <a:solidFill>
                <a:srgbClr val="3A4D98"/>
              </a:solidFill>
            </a:endParaRPr>
          </a:p>
        </p:txBody>
      </p:sp>
      <p:sp>
        <p:nvSpPr>
          <p:cNvPr id="44" name="object 27"/>
          <p:cNvSpPr txBox="1"/>
          <p:nvPr/>
        </p:nvSpPr>
        <p:spPr>
          <a:xfrm>
            <a:off x="8539757" y="3419342"/>
            <a:ext cx="1683121" cy="467436"/>
          </a:xfrm>
          <a:prstGeom prst="rect">
            <a:avLst/>
          </a:prstGeom>
        </p:spPr>
        <p:txBody>
          <a:bodyPr vert="horz" wrap="square" lIns="0" tIns="112395" rIns="0" bIns="0" rtlCol="0">
            <a:spAutoFit/>
          </a:bodyPr>
          <a:lstStyle/>
          <a:p>
            <a:pPr marL="12700" algn="l" rtl="0">
              <a:lnSpc>
                <a:spcPct val="100000"/>
              </a:lnSpc>
              <a:spcBef>
                <a:spcPts val="885"/>
              </a:spcBef>
            </a:pPr>
            <a:r>
              <a:rPr lang="en" sz="1150" b="0" i="0" u="none" baseline="0">
                <a:solidFill>
                  <a:srgbClr val="3A4D98"/>
                </a:solidFill>
                <a:latin typeface="Myriad pro"/>
                <a:ea typeface="Myriad pro"/>
                <a:cs typeface="Myriad pro"/>
              </a:rPr>
              <a:t>Aggregates</a:t>
            </a:r>
            <a:r>
              <a:rPr lang="en" sz="1150">
                <a:solidFill>
                  <a:srgbClr val="3A4D98"/>
                </a:solidFill>
                <a:latin typeface="Myriad pro"/>
                <a:cs typeface="Myriad pro"/>
              </a:rPr>
              <a:t/>
            </a:r>
            <a:br>
              <a:rPr lang="en" sz="1150">
                <a:solidFill>
                  <a:srgbClr val="3A4D98"/>
                </a:solidFill>
                <a:latin typeface="Myriad pro"/>
                <a:cs typeface="Myriad pro"/>
              </a:rPr>
            </a:br>
            <a:r>
              <a:rPr lang="en" sz="1150" b="0" i="0" u="none" baseline="0">
                <a:solidFill>
                  <a:srgbClr val="3A4D98"/>
                </a:solidFill>
                <a:latin typeface="Myriad pro"/>
                <a:ea typeface="Myriad pro"/>
                <a:cs typeface="Myriad pro"/>
              </a:rPr>
              <a:t>and construction materials</a:t>
            </a:r>
          </a:p>
        </p:txBody>
      </p:sp>
      <p:sp>
        <p:nvSpPr>
          <p:cNvPr id="81" name="Prostokąt 80"/>
          <p:cNvSpPr/>
          <p:nvPr>
            <p:custDataLst>
              <p:tags r:id="rId10"/>
            </p:custDataLst>
          </p:nvPr>
        </p:nvSpPr>
        <p:spPr bwMode="gray">
          <a:xfrm>
            <a:off x="5618163" y="3540125"/>
            <a:ext cx="366713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 rtl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9A87927-7774-4694-9303-BF4E2E507567}" type="datetime'23.6'">
              <a:rPr sz="1400">
                <a:solidFill>
                  <a:schemeClr val="tx1"/>
                </a:solidFill>
              </a:rPr>
              <a:pPr/>
              <a:t>23.6</a:t>
            </a:fld>
            <a:endParaRPr lang="en" sz="14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46" name="object 10"/>
          <p:cNvSpPr/>
          <p:nvPr/>
        </p:nvSpPr>
        <p:spPr>
          <a:xfrm>
            <a:off x="8344594" y="4128344"/>
            <a:ext cx="114300" cy="620713"/>
          </a:xfrm>
          <a:custGeom>
            <a:avLst/>
            <a:gdLst/>
            <a:ahLst/>
            <a:cxnLst/>
            <a:rect l="l" t="t" r="r" b="b"/>
            <a:pathLst>
              <a:path w="113664" h="620395">
                <a:moveTo>
                  <a:pt x="0" y="620382"/>
                </a:moveTo>
                <a:lnTo>
                  <a:pt x="113042" y="620382"/>
                </a:lnTo>
                <a:lnTo>
                  <a:pt x="113042" y="0"/>
                </a:lnTo>
                <a:lnTo>
                  <a:pt x="0" y="0"/>
                </a:lnTo>
                <a:lnTo>
                  <a:pt x="0" y="620382"/>
                </a:lnTo>
                <a:close/>
              </a:path>
            </a:pathLst>
          </a:custGeom>
          <a:solidFill>
            <a:srgbClr val="555454"/>
          </a:solidFill>
          <a:ln w="31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lang="en" dirty="0">
              <a:solidFill>
                <a:srgbClr val="3A4D98"/>
              </a:solidFill>
            </a:endParaRPr>
          </a:p>
        </p:txBody>
      </p:sp>
      <p:sp>
        <p:nvSpPr>
          <p:cNvPr id="50" name="object 33"/>
          <p:cNvSpPr txBox="1"/>
          <p:nvPr/>
        </p:nvSpPr>
        <p:spPr>
          <a:xfrm>
            <a:off x="8541369" y="4278103"/>
            <a:ext cx="1604105" cy="290464"/>
          </a:xfrm>
          <a:prstGeom prst="rect">
            <a:avLst/>
          </a:prstGeom>
        </p:spPr>
        <p:txBody>
          <a:bodyPr vert="horz" wrap="square" lIns="0" tIns="112395" rIns="0" bIns="0" rtlCol="0">
            <a:spAutoFit/>
          </a:bodyPr>
          <a:lstStyle/>
          <a:p>
            <a:pPr marL="12700" algn="l" rtl="0">
              <a:lnSpc>
                <a:spcPct val="100000"/>
              </a:lnSpc>
              <a:spcBef>
                <a:spcPts val="885"/>
              </a:spcBef>
            </a:pPr>
            <a:r>
              <a:rPr lang="en" sz="1150" b="0" i="0" u="none" baseline="0">
                <a:solidFill>
                  <a:srgbClr val="3A4D98"/>
                </a:solidFill>
                <a:latin typeface="Myriad pro"/>
                <a:ea typeface="Myriad pro"/>
                <a:cs typeface="Myriad pro"/>
              </a:rPr>
              <a:t>Intermodal transport</a:t>
            </a:r>
          </a:p>
        </p:txBody>
      </p:sp>
      <p:sp>
        <p:nvSpPr>
          <p:cNvPr id="51" name="object 9"/>
          <p:cNvSpPr/>
          <p:nvPr/>
        </p:nvSpPr>
        <p:spPr>
          <a:xfrm>
            <a:off x="8344594" y="4858064"/>
            <a:ext cx="114300" cy="620713"/>
          </a:xfrm>
          <a:custGeom>
            <a:avLst/>
            <a:gdLst/>
            <a:ahLst/>
            <a:cxnLst/>
            <a:rect l="l" t="t" r="r" b="b"/>
            <a:pathLst>
              <a:path w="113664" h="620395">
                <a:moveTo>
                  <a:pt x="0" y="620382"/>
                </a:moveTo>
                <a:lnTo>
                  <a:pt x="113042" y="620382"/>
                </a:lnTo>
                <a:lnTo>
                  <a:pt x="113042" y="0"/>
                </a:lnTo>
                <a:lnTo>
                  <a:pt x="0" y="0"/>
                </a:lnTo>
                <a:lnTo>
                  <a:pt x="0" y="620382"/>
                </a:lnTo>
                <a:close/>
              </a:path>
            </a:pathLst>
          </a:custGeom>
          <a:solidFill>
            <a:srgbClr val="8E9ED1"/>
          </a:solidFill>
          <a:ln w="31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lang="en" dirty="0">
              <a:solidFill>
                <a:srgbClr val="3A4D98"/>
              </a:solidFill>
            </a:endParaRPr>
          </a:p>
        </p:txBody>
      </p:sp>
      <p:sp>
        <p:nvSpPr>
          <p:cNvPr id="52" name="object 30"/>
          <p:cNvSpPr txBox="1"/>
          <p:nvPr/>
        </p:nvSpPr>
        <p:spPr>
          <a:xfrm>
            <a:off x="8541369" y="4988362"/>
            <a:ext cx="1797644" cy="290464"/>
          </a:xfrm>
          <a:prstGeom prst="rect">
            <a:avLst/>
          </a:prstGeom>
        </p:spPr>
        <p:txBody>
          <a:bodyPr vert="horz" wrap="square" lIns="0" tIns="112395" rIns="0" bIns="0" rtlCol="0">
            <a:spAutoFit/>
          </a:bodyPr>
          <a:lstStyle/>
          <a:p>
            <a:pPr marL="12700" algn="l" rtl="0">
              <a:lnSpc>
                <a:spcPct val="100000"/>
              </a:lnSpc>
              <a:spcBef>
                <a:spcPts val="885"/>
              </a:spcBef>
            </a:pPr>
            <a:r>
              <a:rPr lang="en" sz="1150" b="0" i="0" u="none" baseline="0">
                <a:solidFill>
                  <a:srgbClr val="3A4D98"/>
                </a:solidFill>
                <a:latin typeface="Myriad pro"/>
                <a:ea typeface="Myriad pro"/>
                <a:cs typeface="Myriad pro"/>
              </a:rPr>
              <a:t>Metals and ores</a:t>
            </a:r>
          </a:p>
        </p:txBody>
      </p:sp>
      <p:sp>
        <p:nvSpPr>
          <p:cNvPr id="42" name="object 11"/>
          <p:cNvSpPr/>
          <p:nvPr/>
        </p:nvSpPr>
        <p:spPr>
          <a:xfrm>
            <a:off x="8342982" y="5631680"/>
            <a:ext cx="114300" cy="620713"/>
          </a:xfrm>
          <a:custGeom>
            <a:avLst/>
            <a:gdLst/>
            <a:ahLst/>
            <a:cxnLst/>
            <a:rect l="l" t="t" r="r" b="b"/>
            <a:pathLst>
              <a:path w="113664" h="620395">
                <a:moveTo>
                  <a:pt x="0" y="620382"/>
                </a:moveTo>
                <a:lnTo>
                  <a:pt x="113042" y="620382"/>
                </a:lnTo>
                <a:lnTo>
                  <a:pt x="113042" y="0"/>
                </a:lnTo>
                <a:lnTo>
                  <a:pt x="0" y="0"/>
                </a:lnTo>
                <a:lnTo>
                  <a:pt x="0" y="620382"/>
                </a:lnTo>
                <a:close/>
              </a:path>
            </a:pathLst>
          </a:custGeom>
          <a:solidFill>
            <a:srgbClr val="B1B1B1"/>
          </a:solidFill>
          <a:ln w="31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lang="en" dirty="0">
              <a:solidFill>
                <a:srgbClr val="3A4D98"/>
              </a:solidFill>
            </a:endParaRPr>
          </a:p>
        </p:txBody>
      </p:sp>
      <p:sp>
        <p:nvSpPr>
          <p:cNvPr id="45" name="object 36"/>
          <p:cNvSpPr txBox="1"/>
          <p:nvPr/>
        </p:nvSpPr>
        <p:spPr>
          <a:xfrm>
            <a:off x="8539757" y="5767514"/>
            <a:ext cx="1765468" cy="290464"/>
          </a:xfrm>
          <a:prstGeom prst="rect">
            <a:avLst/>
          </a:prstGeom>
        </p:spPr>
        <p:txBody>
          <a:bodyPr vert="horz" wrap="square" lIns="0" tIns="112395" rIns="0" bIns="0" rtlCol="0">
            <a:spAutoFit/>
          </a:bodyPr>
          <a:lstStyle/>
          <a:p>
            <a:pPr marL="12700" algn="l" rtl="0">
              <a:lnSpc>
                <a:spcPct val="100000"/>
              </a:lnSpc>
              <a:spcBef>
                <a:spcPts val="885"/>
              </a:spcBef>
            </a:pPr>
            <a:r>
              <a:rPr lang="en" sz="1150" b="0" i="0" u="none" baseline="0">
                <a:solidFill>
                  <a:srgbClr val="3A4D98"/>
                </a:solidFill>
                <a:latin typeface="Myriad pro"/>
                <a:ea typeface="Myriad pro"/>
                <a:cs typeface="Myriad pro"/>
              </a:rPr>
              <a:t>Other cargo</a:t>
            </a:r>
          </a:p>
        </p:txBody>
      </p:sp>
      <p:sp>
        <p:nvSpPr>
          <p:cNvPr id="72" name="Prostokąt 71"/>
          <p:cNvSpPr/>
          <p:nvPr>
            <p:custDataLst>
              <p:tags r:id="rId11"/>
            </p:custDataLst>
          </p:nvPr>
        </p:nvSpPr>
        <p:spPr bwMode="auto">
          <a:xfrm>
            <a:off x="939800" y="58261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 rtl="0">
              <a:spcBef>
                <a:spcPct val="0"/>
              </a:spcBef>
              <a:spcAft>
                <a:spcPct val="0"/>
              </a:spcAft>
            </a:pPr>
            <a:fld id="{8CB08A7D-ACFF-4D60-99C3-1FBA5638BD17}" type="datetime'2016'">
              <a:rPr sz="1400">
                <a:solidFill>
                  <a:srgbClr val="555454"/>
                </a:solidFill>
              </a:rPr>
              <a:pPr/>
              <a:t>2016</a:t>
            </a:fld>
            <a:endParaRPr lang="en" sz="1400" dirty="0">
              <a:solidFill>
                <a:srgbClr val="555454"/>
              </a:solidFill>
              <a:sym typeface="Arial" panose="020B0604020202020204" pitchFamily="34" charset="0"/>
            </a:endParaRPr>
          </a:p>
        </p:txBody>
      </p:sp>
      <p:sp>
        <p:nvSpPr>
          <p:cNvPr id="74" name="Prostokąt 73"/>
          <p:cNvSpPr/>
          <p:nvPr>
            <p:custDataLst>
              <p:tags r:id="rId12"/>
            </p:custDataLst>
          </p:nvPr>
        </p:nvSpPr>
        <p:spPr bwMode="auto">
          <a:xfrm>
            <a:off x="2108200" y="58261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 rtl="0">
              <a:spcBef>
                <a:spcPct val="0"/>
              </a:spcBef>
              <a:spcAft>
                <a:spcPct val="0"/>
              </a:spcAft>
            </a:pPr>
            <a:fld id="{212576AE-AB0C-484C-8F6B-46EB1D0C9EDF}" type="datetime'2017'">
              <a:rPr sz="1400">
                <a:solidFill>
                  <a:srgbClr val="555454"/>
                </a:solidFill>
              </a:rPr>
              <a:pPr/>
              <a:t>2017</a:t>
            </a:fld>
            <a:endParaRPr lang="en" sz="1400" dirty="0">
              <a:solidFill>
                <a:srgbClr val="555454"/>
              </a:solidFill>
              <a:sym typeface="Arial" panose="020B0604020202020204" pitchFamily="34" charset="0"/>
            </a:endParaRPr>
          </a:p>
        </p:txBody>
      </p:sp>
      <p:sp>
        <p:nvSpPr>
          <p:cNvPr id="76" name="Prostokąt 75"/>
          <p:cNvSpPr/>
          <p:nvPr>
            <p:custDataLst>
              <p:tags r:id="rId13"/>
            </p:custDataLst>
          </p:nvPr>
        </p:nvSpPr>
        <p:spPr bwMode="auto">
          <a:xfrm>
            <a:off x="3276600" y="58261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 rtl="0">
              <a:spcBef>
                <a:spcPct val="0"/>
              </a:spcBef>
              <a:spcAft>
                <a:spcPct val="0"/>
              </a:spcAft>
            </a:pPr>
            <a:fld id="{F5A03BF1-4480-4202-9C5F-8AFE41B12E92}" type="datetime'2018'">
              <a:rPr sz="1400">
                <a:solidFill>
                  <a:srgbClr val="555454"/>
                </a:solidFill>
              </a:rPr>
              <a:pPr/>
              <a:t>2018</a:t>
            </a:fld>
            <a:endParaRPr lang="en" sz="1400" dirty="0">
              <a:solidFill>
                <a:srgbClr val="555454"/>
              </a:solidFill>
              <a:sym typeface="Arial" panose="020B0604020202020204" pitchFamily="34" charset="0"/>
            </a:endParaRPr>
          </a:p>
        </p:txBody>
      </p:sp>
      <p:sp>
        <p:nvSpPr>
          <p:cNvPr id="71" name="Prostokąt 70"/>
          <p:cNvSpPr/>
          <p:nvPr>
            <p:custDataLst>
              <p:tags r:id="rId14"/>
            </p:custDataLst>
          </p:nvPr>
        </p:nvSpPr>
        <p:spPr bwMode="auto">
          <a:xfrm>
            <a:off x="4445000" y="58261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 rtl="0">
              <a:spcBef>
                <a:spcPct val="0"/>
              </a:spcBef>
              <a:spcAft>
                <a:spcPct val="0"/>
              </a:spcAft>
            </a:pPr>
            <a:fld id="{B3F2FBE0-D165-44A1-B60A-A5A3AEBF92C2}" type="datetime'2019'">
              <a:rPr sz="1400">
                <a:solidFill>
                  <a:srgbClr val="555454"/>
                </a:solidFill>
              </a:rPr>
              <a:pPr/>
              <a:t>2019</a:t>
            </a:fld>
            <a:endParaRPr lang="en" sz="1400" dirty="0">
              <a:solidFill>
                <a:srgbClr val="555454"/>
              </a:solidFill>
              <a:sym typeface="Arial" panose="020B0604020202020204" pitchFamily="34" charset="0"/>
            </a:endParaRPr>
          </a:p>
        </p:txBody>
      </p:sp>
      <p:sp>
        <p:nvSpPr>
          <p:cNvPr id="77" name="Prostokąt 76"/>
          <p:cNvSpPr/>
          <p:nvPr>
            <p:custDataLst>
              <p:tags r:id="rId15"/>
            </p:custDataLst>
          </p:nvPr>
        </p:nvSpPr>
        <p:spPr bwMode="auto">
          <a:xfrm>
            <a:off x="5613400" y="58261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 rtl="0">
              <a:spcBef>
                <a:spcPct val="0"/>
              </a:spcBef>
              <a:spcAft>
                <a:spcPct val="0"/>
              </a:spcAft>
            </a:pPr>
            <a:fld id="{1C004EB1-990B-4C4A-8101-87E8C363E8BD}" type="datetime'2020'">
              <a:rPr sz="1400">
                <a:solidFill>
                  <a:srgbClr val="555454"/>
                </a:solidFill>
              </a:rPr>
              <a:pPr/>
              <a:t>2020</a:t>
            </a:fld>
            <a:endParaRPr lang="en" sz="1400" dirty="0">
              <a:solidFill>
                <a:srgbClr val="555454"/>
              </a:solidFill>
              <a:sym typeface="Arial" panose="020B0604020202020204" pitchFamily="34" charset="0"/>
            </a:endParaRPr>
          </a:p>
        </p:txBody>
      </p:sp>
      <p:sp>
        <p:nvSpPr>
          <p:cNvPr id="84" name="Prostokąt 83"/>
          <p:cNvSpPr/>
          <p:nvPr>
            <p:custDataLst>
              <p:tags r:id="rId16"/>
            </p:custDataLst>
          </p:nvPr>
        </p:nvSpPr>
        <p:spPr bwMode="auto">
          <a:xfrm>
            <a:off x="6781800" y="5826125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 rtl="0">
              <a:spcBef>
                <a:spcPct val="0"/>
              </a:spcBef>
              <a:spcAft>
                <a:spcPct val="0"/>
              </a:spcAft>
            </a:pPr>
            <a:fld id="{579B4E25-B351-4F23-88BD-7853E910FF81}" type="datetime'2021'">
              <a:rPr sz="1400">
                <a:solidFill>
                  <a:srgbClr val="555454"/>
                </a:solidFill>
              </a:rPr>
              <a:pPr/>
              <a:t>2021</a:t>
            </a:fld>
            <a:endParaRPr lang="en" sz="1400" dirty="0">
              <a:solidFill>
                <a:srgbClr val="555454"/>
              </a:solidFill>
              <a:sym typeface="Arial" panose="020B0604020202020204" pitchFamily="34" charset="0"/>
            </a:endParaRPr>
          </a:p>
        </p:txBody>
      </p:sp>
      <p:sp>
        <p:nvSpPr>
          <p:cNvPr id="34" name="pole tekstowe 33"/>
          <p:cNvSpPr txBox="1"/>
          <p:nvPr/>
        </p:nvSpPr>
        <p:spPr>
          <a:xfrm>
            <a:off x="675114" y="7182693"/>
            <a:ext cx="946750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rtl="0"/>
            <a:r>
              <a:rPr lang="en" sz="900" b="0" i="1" u="none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To facilitate the reading of this presentation, some figures have been rounded off, which may cause negligible deviations in the presented data.</a:t>
            </a:r>
          </a:p>
        </p:txBody>
      </p:sp>
    </p:spTree>
    <p:extLst>
      <p:ext uri="{BB962C8B-B14F-4D97-AF65-F5344CB8AC3E}">
        <p14:creationId xmlns:p14="http://schemas.microsoft.com/office/powerpoint/2010/main" val="32365354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umeru slajdu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 rtl="0"/>
            <a:fld id="{022581BA-A277-4FE5-891C-DC92D7F0A26A}" type="slidenum">
              <a:rPr/>
              <a:pPr algn="r" rtl="0"/>
              <a:t>6</a:t>
            </a:fld>
            <a:endParaRPr lang="en" dirty="0"/>
          </a:p>
        </p:txBody>
      </p:sp>
      <p:sp>
        <p:nvSpPr>
          <p:cNvPr id="13" name="Prostokąt 12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rtl="0"/>
            <a:endParaRPr lang="en" sz="1400" b="1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graphicFrame>
        <p:nvGraphicFramePr>
          <p:cNvPr id="15" name="Obiekt 1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0672886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882" name="think-cell Slide" r:id="rId21" imgW="384" imgH="384" progId="TCLayout.ActiveDocument.1">
                  <p:embed/>
                </p:oleObj>
              </mc:Choice>
              <mc:Fallback>
                <p:oleObj name="think-cell Slide" r:id="rId21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0" name="Obraz 99" descr="strzalka.png"/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114" y="798439"/>
            <a:ext cx="540000" cy="727158"/>
          </a:xfrm>
          <a:prstGeom prst="rect">
            <a:avLst/>
          </a:prstGeom>
        </p:spPr>
      </p:pic>
      <p:sp>
        <p:nvSpPr>
          <p:cNvPr id="38" name="object 3"/>
          <p:cNvSpPr txBox="1"/>
          <p:nvPr/>
        </p:nvSpPr>
        <p:spPr>
          <a:xfrm>
            <a:off x="1311965" y="802904"/>
            <a:ext cx="8086477" cy="62837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R="5080" algn="l" rtl="0">
              <a:spcBef>
                <a:spcPts val="100"/>
              </a:spcBef>
            </a:pPr>
            <a:r>
              <a:rPr lang="en" sz="2000" b="0" i="0" u="none" baseline="0">
                <a:solidFill>
                  <a:srgbClr val="3A4D98"/>
                </a:solidFill>
                <a:latin typeface="Myriad Pro"/>
                <a:ea typeface="Myriad Pro"/>
                <a:cs typeface="Myriad Pro"/>
              </a:rPr>
              <a:t>Structure of transport of key cargo categories </a:t>
            </a:r>
            <a:r>
              <a:rPr lang="en" sz="2000">
                <a:solidFill>
                  <a:srgbClr val="3A4D98"/>
                </a:solidFill>
                <a:latin typeface="Myriad Pro"/>
                <a:cs typeface="Myriad Pro"/>
              </a:rPr>
              <a:t/>
            </a:r>
            <a:br>
              <a:rPr lang="en" sz="2000">
                <a:solidFill>
                  <a:srgbClr val="3A4D98"/>
                </a:solidFill>
                <a:latin typeface="Myriad Pro"/>
                <a:cs typeface="Myriad Pro"/>
              </a:rPr>
            </a:br>
            <a:r>
              <a:rPr lang="en" sz="2000" b="0" i="0" u="none" baseline="0">
                <a:solidFill>
                  <a:srgbClr val="3A4D98"/>
                </a:solidFill>
                <a:latin typeface="Myriad Pro"/>
                <a:ea typeface="Myriad Pro"/>
                <a:cs typeface="Myriad Pro"/>
              </a:rPr>
              <a:t>in 2016-2021</a:t>
            </a:r>
          </a:p>
        </p:txBody>
      </p:sp>
      <p:sp>
        <p:nvSpPr>
          <p:cNvPr id="84" name="object 48"/>
          <p:cNvSpPr txBox="1"/>
          <p:nvPr/>
        </p:nvSpPr>
        <p:spPr>
          <a:xfrm>
            <a:off x="1311965" y="1959997"/>
            <a:ext cx="4725780" cy="57451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3970" algn="l" rtl="0">
              <a:lnSpc>
                <a:spcPct val="100000"/>
              </a:lnSpc>
              <a:spcBef>
                <a:spcPts val="100"/>
              </a:spcBef>
            </a:pPr>
            <a:r>
              <a:rPr lang="en" sz="1200" b="1" i="0" u="none" spc="5" baseline="0">
                <a:solidFill>
                  <a:srgbClr val="3A4D98"/>
                </a:solidFill>
                <a:latin typeface="Myriad Pro"/>
                <a:ea typeface="Myriad Pro"/>
                <a:cs typeface="Myriad Pro"/>
              </a:rPr>
              <a:t>PKP CARGO GROUP’S FREIGHT VOLUME</a:t>
            </a:r>
          </a:p>
          <a:p>
            <a:pPr marL="13970" algn="l" rtl="0">
              <a:spcBef>
                <a:spcPts val="100"/>
              </a:spcBef>
            </a:pPr>
            <a:r>
              <a:rPr lang="en" sz="1200" b="1" i="0" u="none" spc="5" baseline="0">
                <a:solidFill>
                  <a:srgbClr val="3A4D98"/>
                </a:solidFill>
                <a:latin typeface="Myriad Pro"/>
                <a:ea typeface="Myriad Pro"/>
                <a:cs typeface="Myriad Pro"/>
              </a:rPr>
              <a:t>2016 - 2021</a:t>
            </a:r>
          </a:p>
          <a:p>
            <a:pPr marL="12700" algn="l" rtl="0">
              <a:lnSpc>
                <a:spcPts val="1390"/>
              </a:lnSpc>
            </a:pPr>
            <a:r>
              <a:rPr lang="en" sz="1200" b="0" i="0" u="none" spc="-20" baseline="0">
                <a:solidFill>
                  <a:srgbClr val="454545"/>
                </a:solidFill>
                <a:latin typeface="Arial"/>
                <a:ea typeface="Arial"/>
                <a:cs typeface="Arial"/>
              </a:rPr>
              <a:t>million tons</a:t>
            </a:r>
            <a:endParaRPr sz="1200" dirty="0">
              <a:solidFill>
                <a:srgbClr val="454545"/>
              </a:solidFill>
              <a:latin typeface="Arial"/>
              <a:cs typeface="Arial"/>
            </a:endParaRPr>
          </a:p>
        </p:txBody>
      </p:sp>
      <p:sp>
        <p:nvSpPr>
          <p:cNvPr id="40" name="object 7"/>
          <p:cNvSpPr/>
          <p:nvPr/>
        </p:nvSpPr>
        <p:spPr>
          <a:xfrm>
            <a:off x="8245382" y="2616200"/>
            <a:ext cx="114300" cy="620713"/>
          </a:xfrm>
          <a:custGeom>
            <a:avLst/>
            <a:gdLst/>
            <a:ahLst/>
            <a:cxnLst/>
            <a:rect l="l" t="t" r="r" b="b"/>
            <a:pathLst>
              <a:path w="113664" h="620394">
                <a:moveTo>
                  <a:pt x="0" y="620382"/>
                </a:moveTo>
                <a:lnTo>
                  <a:pt x="113042" y="620382"/>
                </a:lnTo>
                <a:lnTo>
                  <a:pt x="113042" y="0"/>
                </a:lnTo>
                <a:lnTo>
                  <a:pt x="0" y="0"/>
                </a:lnTo>
                <a:lnTo>
                  <a:pt x="0" y="620382"/>
                </a:lnTo>
                <a:close/>
              </a:path>
            </a:pathLst>
          </a:custGeom>
          <a:solidFill>
            <a:srgbClr val="004F9F"/>
          </a:solidFill>
          <a:ln w="31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lang="en" dirty="0">
              <a:solidFill>
                <a:srgbClr val="3A4D98"/>
              </a:solidFill>
            </a:endParaRPr>
          </a:p>
        </p:txBody>
      </p:sp>
      <p:sp>
        <p:nvSpPr>
          <p:cNvPr id="43" name="object 24"/>
          <p:cNvSpPr txBox="1"/>
          <p:nvPr/>
        </p:nvSpPr>
        <p:spPr>
          <a:xfrm>
            <a:off x="8442157" y="2753678"/>
            <a:ext cx="1705037" cy="290464"/>
          </a:xfrm>
          <a:prstGeom prst="rect">
            <a:avLst/>
          </a:prstGeom>
        </p:spPr>
        <p:txBody>
          <a:bodyPr vert="horz" wrap="square" lIns="0" tIns="112395" rIns="0" bIns="0" rtlCol="0">
            <a:spAutoFit/>
          </a:bodyPr>
          <a:lstStyle/>
          <a:p>
            <a:pPr marL="12700" algn="l" rtl="0">
              <a:lnSpc>
                <a:spcPct val="100000"/>
              </a:lnSpc>
              <a:spcBef>
                <a:spcPts val="885"/>
              </a:spcBef>
            </a:pPr>
            <a:r>
              <a:rPr lang="en" sz="1150" b="0" i="0" u="none" baseline="0">
                <a:solidFill>
                  <a:srgbClr val="3A4D98"/>
                </a:solidFill>
                <a:latin typeface="Myriad pro"/>
                <a:ea typeface="Myriad pro"/>
                <a:cs typeface="Myriad pro"/>
              </a:rPr>
              <a:t>Hard coal</a:t>
            </a:r>
          </a:p>
        </p:txBody>
      </p:sp>
      <p:sp>
        <p:nvSpPr>
          <p:cNvPr id="64" name="Prostokąt 63"/>
          <p:cNvSpPr/>
          <p:nvPr>
            <p:custDataLst>
              <p:tags r:id="rId4"/>
            </p:custDataLst>
          </p:nvPr>
        </p:nvSpPr>
        <p:spPr bwMode="gray">
          <a:xfrm>
            <a:off x="3203575" y="2827338"/>
            <a:ext cx="457200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 rtl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52F0504B-EC9B-4166-8003-FA8BE5698159}" type="datetime'121.9'">
              <a:rPr sz="1400">
                <a:solidFill>
                  <a:schemeClr val="tx1"/>
                </a:solidFill>
              </a:rPr>
              <a:pPr/>
              <a:t>121.9</a:t>
            </a:fld>
            <a:endParaRPr lang="en" sz="1400" dirty="0">
              <a:solidFill>
                <a:schemeClr val="tx1"/>
              </a:solidFill>
              <a:sym typeface="Arial Black" panose="020B0A04020102020204" pitchFamily="34" charset="0"/>
            </a:endParaRPr>
          </a:p>
        </p:txBody>
      </p:sp>
      <p:sp>
        <p:nvSpPr>
          <p:cNvPr id="63" name="Prostokąt 62"/>
          <p:cNvSpPr/>
          <p:nvPr>
            <p:custDataLst>
              <p:tags r:id="rId5"/>
            </p:custDataLst>
          </p:nvPr>
        </p:nvSpPr>
        <p:spPr bwMode="gray">
          <a:xfrm>
            <a:off x="2036763" y="2887663"/>
            <a:ext cx="457200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 rtl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" sz="1400" b="0" i="0" u="none" baseline="0">
                <a:solidFill>
                  <a:schemeClr val="tx1"/>
                </a:solidFill>
                <a:sym typeface="Arial Black" panose="020B0A04020102020204" pitchFamily="34" charset="0"/>
              </a:rPr>
              <a:t>119.1</a:t>
            </a:r>
            <a:endParaRPr lang="en" sz="1400" dirty="0">
              <a:solidFill>
                <a:schemeClr val="tx1"/>
              </a:solidFill>
              <a:sym typeface="Arial Black" panose="020B0A04020102020204" pitchFamily="34" charset="0"/>
            </a:endParaRPr>
          </a:p>
        </p:txBody>
      </p:sp>
      <p:graphicFrame>
        <p:nvGraphicFramePr>
          <p:cNvPr id="97" name="Chart 3"/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313022514"/>
              </p:ext>
            </p:extLst>
          </p:nvPr>
        </p:nvGraphicFramePr>
        <p:xfrm>
          <a:off x="431800" y="2962275"/>
          <a:ext cx="7170738" cy="28781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4"/>
          </a:graphicData>
        </a:graphic>
      </p:graphicFrame>
      <p:sp>
        <p:nvSpPr>
          <p:cNvPr id="53" name="Prostokąt 52"/>
          <p:cNvSpPr/>
          <p:nvPr>
            <p:custDataLst>
              <p:tags r:id="rId7"/>
            </p:custDataLst>
          </p:nvPr>
        </p:nvSpPr>
        <p:spPr bwMode="gray">
          <a:xfrm>
            <a:off x="868363" y="3059113"/>
            <a:ext cx="457200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 rtl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EB9AFC5-8706-4A60-951C-998D67DD95B7}" type="datetime'111.5'">
              <a:rPr sz="1400">
                <a:solidFill>
                  <a:schemeClr val="tx1"/>
                </a:solidFill>
              </a:rPr>
              <a:pPr/>
              <a:t>111.5</a:t>
            </a:fld>
            <a:endParaRPr lang="en" sz="1400" dirty="0">
              <a:solidFill>
                <a:schemeClr val="tx1"/>
              </a:solidFill>
              <a:sym typeface="Arial Black" panose="020B0A04020102020204" pitchFamily="34" charset="0"/>
            </a:endParaRPr>
          </a:p>
        </p:txBody>
      </p:sp>
      <p:sp>
        <p:nvSpPr>
          <p:cNvPr id="65" name="Prostokąt 64"/>
          <p:cNvSpPr/>
          <p:nvPr>
            <p:custDataLst>
              <p:tags r:id="rId8"/>
            </p:custDataLst>
          </p:nvPr>
        </p:nvSpPr>
        <p:spPr bwMode="gray">
          <a:xfrm>
            <a:off x="4371975" y="3125788"/>
            <a:ext cx="457200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 rtl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" sz="1400" b="0" i="0" u="none" baseline="0">
                <a:solidFill>
                  <a:schemeClr val="tx1"/>
                </a:solidFill>
                <a:sym typeface="Arial Black" panose="020B0A04020102020204" pitchFamily="34" charset="0"/>
              </a:rPr>
              <a:t>108.6</a:t>
            </a:r>
            <a:endParaRPr lang="en" sz="1400" dirty="0">
              <a:solidFill>
                <a:schemeClr val="tx1"/>
              </a:solidFill>
              <a:sym typeface="Arial Black" panose="020B0A04020102020204" pitchFamily="34" charset="0"/>
            </a:endParaRPr>
          </a:p>
        </p:txBody>
      </p:sp>
      <p:sp>
        <p:nvSpPr>
          <p:cNvPr id="11" name="Prostokąt 10"/>
          <p:cNvSpPr/>
          <p:nvPr>
            <p:custDataLst>
              <p:tags r:id="rId9"/>
            </p:custDataLst>
          </p:nvPr>
        </p:nvSpPr>
        <p:spPr bwMode="gray">
          <a:xfrm>
            <a:off x="6707188" y="3278188"/>
            <a:ext cx="457200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/>
          <a:lstStyle/>
          <a:p>
            <a:pPr algn="ctr" rtl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8CFD0EE-2F4A-4BE9-9B31-6D854AB83579}" type="datetime'101.6'">
              <a:rPr sz="1400">
                <a:solidFill>
                  <a:schemeClr val="tx1"/>
                </a:solidFill>
              </a:rPr>
              <a:pPr/>
              <a:t>101.6</a:t>
            </a:fld>
            <a:endParaRPr lang="en" sz="1400">
              <a:solidFill>
                <a:schemeClr val="tx1"/>
              </a:solidFill>
              <a:sym typeface="+mn-lt"/>
            </a:endParaRPr>
          </a:p>
        </p:txBody>
      </p:sp>
      <p:sp>
        <p:nvSpPr>
          <p:cNvPr id="41" name="object 8"/>
          <p:cNvSpPr/>
          <p:nvPr/>
        </p:nvSpPr>
        <p:spPr>
          <a:xfrm>
            <a:off x="8245382" y="3362325"/>
            <a:ext cx="114300" cy="620713"/>
          </a:xfrm>
          <a:custGeom>
            <a:avLst/>
            <a:gdLst/>
            <a:ahLst/>
            <a:cxnLst/>
            <a:rect l="l" t="t" r="r" b="b"/>
            <a:pathLst>
              <a:path w="113664" h="620395">
                <a:moveTo>
                  <a:pt x="0" y="620382"/>
                </a:moveTo>
                <a:lnTo>
                  <a:pt x="113042" y="620382"/>
                </a:lnTo>
                <a:lnTo>
                  <a:pt x="113042" y="0"/>
                </a:lnTo>
                <a:lnTo>
                  <a:pt x="0" y="0"/>
                </a:lnTo>
                <a:lnTo>
                  <a:pt x="0" y="620382"/>
                </a:lnTo>
                <a:close/>
              </a:path>
            </a:pathLst>
          </a:custGeom>
          <a:solidFill>
            <a:srgbClr val="4E72B7"/>
          </a:solidFill>
          <a:ln w="31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lang="en" dirty="0">
              <a:solidFill>
                <a:srgbClr val="3A4D98"/>
              </a:solidFill>
            </a:endParaRPr>
          </a:p>
        </p:txBody>
      </p:sp>
      <p:sp>
        <p:nvSpPr>
          <p:cNvPr id="44" name="object 27"/>
          <p:cNvSpPr txBox="1"/>
          <p:nvPr/>
        </p:nvSpPr>
        <p:spPr>
          <a:xfrm>
            <a:off x="8442157" y="3404237"/>
            <a:ext cx="1683121" cy="467436"/>
          </a:xfrm>
          <a:prstGeom prst="rect">
            <a:avLst/>
          </a:prstGeom>
        </p:spPr>
        <p:txBody>
          <a:bodyPr vert="horz" wrap="square" lIns="0" tIns="112395" rIns="0" bIns="0" rtlCol="0">
            <a:spAutoFit/>
          </a:bodyPr>
          <a:lstStyle/>
          <a:p>
            <a:pPr marL="12700" algn="l" rtl="0">
              <a:lnSpc>
                <a:spcPct val="100000"/>
              </a:lnSpc>
              <a:spcBef>
                <a:spcPts val="885"/>
              </a:spcBef>
            </a:pPr>
            <a:r>
              <a:rPr lang="en" sz="1150" b="0" i="0" u="none" baseline="0">
                <a:solidFill>
                  <a:srgbClr val="3A4D98"/>
                </a:solidFill>
                <a:latin typeface="Myriad pro"/>
                <a:ea typeface="Myriad pro"/>
                <a:cs typeface="Myriad pro"/>
              </a:rPr>
              <a:t>Aggregates</a:t>
            </a:r>
            <a:r>
              <a:rPr lang="en" sz="1150">
                <a:solidFill>
                  <a:srgbClr val="3A4D98"/>
                </a:solidFill>
                <a:latin typeface="Myriad pro"/>
                <a:cs typeface="Myriad pro"/>
              </a:rPr>
              <a:t/>
            </a:r>
            <a:br>
              <a:rPr lang="en" sz="1150">
                <a:solidFill>
                  <a:srgbClr val="3A4D98"/>
                </a:solidFill>
                <a:latin typeface="Myriad pro"/>
                <a:cs typeface="Myriad pro"/>
              </a:rPr>
            </a:br>
            <a:r>
              <a:rPr lang="en" sz="1150" b="0" i="0" u="none" baseline="0">
                <a:solidFill>
                  <a:srgbClr val="3A4D98"/>
                </a:solidFill>
                <a:latin typeface="Myriad pro"/>
                <a:ea typeface="Myriad pro"/>
                <a:cs typeface="Myriad pro"/>
              </a:rPr>
              <a:t>and construction materials</a:t>
            </a:r>
          </a:p>
        </p:txBody>
      </p:sp>
      <p:sp>
        <p:nvSpPr>
          <p:cNvPr id="57" name="Prostokąt 56"/>
          <p:cNvSpPr/>
          <p:nvPr>
            <p:custDataLst>
              <p:tags r:id="rId10"/>
            </p:custDataLst>
          </p:nvPr>
        </p:nvSpPr>
        <p:spPr bwMode="gray">
          <a:xfrm>
            <a:off x="5584826" y="3454400"/>
            <a:ext cx="366713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 rtl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" sz="1400" b="0" i="0" u="none" baseline="0">
                <a:solidFill>
                  <a:schemeClr val="tx1"/>
                </a:solidFill>
              </a:rPr>
              <a:t>93.6</a:t>
            </a:r>
            <a:endParaRPr lang="en" sz="14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60" name="Prostokąt 59"/>
          <p:cNvSpPr/>
          <p:nvPr>
            <p:custDataLst>
              <p:tags r:id="rId11"/>
            </p:custDataLst>
          </p:nvPr>
        </p:nvSpPr>
        <p:spPr bwMode="gray">
          <a:xfrm>
            <a:off x="2082801" y="3586163"/>
            <a:ext cx="366713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 rtl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" sz="1400" b="0" i="0" u="none" baseline="0" dirty="0">
                <a:solidFill>
                  <a:schemeClr val="bg1"/>
                </a:solidFill>
                <a:sym typeface="Arial Black" panose="020B0A04020102020204" pitchFamily="34" charset="0"/>
              </a:rPr>
              <a:t>51.7</a:t>
            </a:r>
          </a:p>
        </p:txBody>
      </p:sp>
      <p:sp>
        <p:nvSpPr>
          <p:cNvPr id="46" name="object 10"/>
          <p:cNvSpPr/>
          <p:nvPr/>
        </p:nvSpPr>
        <p:spPr>
          <a:xfrm>
            <a:off x="8246994" y="4113239"/>
            <a:ext cx="114300" cy="620713"/>
          </a:xfrm>
          <a:custGeom>
            <a:avLst/>
            <a:gdLst/>
            <a:ahLst/>
            <a:cxnLst/>
            <a:rect l="l" t="t" r="r" b="b"/>
            <a:pathLst>
              <a:path w="113664" h="620395">
                <a:moveTo>
                  <a:pt x="0" y="620382"/>
                </a:moveTo>
                <a:lnTo>
                  <a:pt x="113042" y="620382"/>
                </a:lnTo>
                <a:lnTo>
                  <a:pt x="113042" y="0"/>
                </a:lnTo>
                <a:lnTo>
                  <a:pt x="0" y="0"/>
                </a:lnTo>
                <a:lnTo>
                  <a:pt x="0" y="620382"/>
                </a:lnTo>
                <a:close/>
              </a:path>
            </a:pathLst>
          </a:custGeom>
          <a:solidFill>
            <a:srgbClr val="555454"/>
          </a:solidFill>
          <a:ln w="31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lang="en" dirty="0">
              <a:solidFill>
                <a:srgbClr val="3A4D98"/>
              </a:solidFill>
            </a:endParaRPr>
          </a:p>
        </p:txBody>
      </p:sp>
      <p:sp>
        <p:nvSpPr>
          <p:cNvPr id="50" name="object 33"/>
          <p:cNvSpPr txBox="1"/>
          <p:nvPr/>
        </p:nvSpPr>
        <p:spPr>
          <a:xfrm>
            <a:off x="8443769" y="4262998"/>
            <a:ext cx="1604105" cy="290464"/>
          </a:xfrm>
          <a:prstGeom prst="rect">
            <a:avLst/>
          </a:prstGeom>
        </p:spPr>
        <p:txBody>
          <a:bodyPr vert="horz" wrap="square" lIns="0" tIns="112395" rIns="0" bIns="0" rtlCol="0">
            <a:spAutoFit/>
          </a:bodyPr>
          <a:lstStyle/>
          <a:p>
            <a:pPr marL="12700" algn="l" rtl="0">
              <a:lnSpc>
                <a:spcPct val="100000"/>
              </a:lnSpc>
              <a:spcBef>
                <a:spcPts val="885"/>
              </a:spcBef>
            </a:pPr>
            <a:r>
              <a:rPr lang="en" sz="1150" b="0" i="0" u="none" baseline="0">
                <a:solidFill>
                  <a:srgbClr val="3A4D98"/>
                </a:solidFill>
                <a:latin typeface="Myriad pro"/>
                <a:ea typeface="Myriad pro"/>
                <a:cs typeface="Myriad pro"/>
              </a:rPr>
              <a:t>Intermodal transport</a:t>
            </a:r>
          </a:p>
        </p:txBody>
      </p:sp>
      <p:sp>
        <p:nvSpPr>
          <p:cNvPr id="51" name="object 9"/>
          <p:cNvSpPr/>
          <p:nvPr/>
        </p:nvSpPr>
        <p:spPr>
          <a:xfrm>
            <a:off x="8246994" y="4842959"/>
            <a:ext cx="114300" cy="620713"/>
          </a:xfrm>
          <a:custGeom>
            <a:avLst/>
            <a:gdLst/>
            <a:ahLst/>
            <a:cxnLst/>
            <a:rect l="l" t="t" r="r" b="b"/>
            <a:pathLst>
              <a:path w="113664" h="620395">
                <a:moveTo>
                  <a:pt x="0" y="620382"/>
                </a:moveTo>
                <a:lnTo>
                  <a:pt x="113042" y="620382"/>
                </a:lnTo>
                <a:lnTo>
                  <a:pt x="113042" y="0"/>
                </a:lnTo>
                <a:lnTo>
                  <a:pt x="0" y="0"/>
                </a:lnTo>
                <a:lnTo>
                  <a:pt x="0" y="620382"/>
                </a:lnTo>
                <a:close/>
              </a:path>
            </a:pathLst>
          </a:custGeom>
          <a:solidFill>
            <a:srgbClr val="8E9ED1"/>
          </a:solidFill>
          <a:ln w="31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lang="en" dirty="0">
              <a:solidFill>
                <a:srgbClr val="3A4D98"/>
              </a:solidFill>
            </a:endParaRPr>
          </a:p>
        </p:txBody>
      </p:sp>
      <p:sp>
        <p:nvSpPr>
          <p:cNvPr id="26" name="Prostokąt 25"/>
          <p:cNvSpPr/>
          <p:nvPr>
            <p:custDataLst>
              <p:tags r:id="rId12"/>
            </p:custDataLst>
          </p:nvPr>
        </p:nvSpPr>
        <p:spPr bwMode="gray">
          <a:xfrm>
            <a:off x="958850" y="4851400"/>
            <a:ext cx="276225" cy="192088"/>
          </a:xfrm>
          <a:prstGeom prst="rect">
            <a:avLst/>
          </a:prstGeom>
          <a:solidFill>
            <a:srgbClr val="555454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ctr"/>
          <a:lstStyle/>
          <a:p>
            <a:pPr algn="ctr" rtl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6E724F98-F3CB-4F1E-9970-2903C4033863}" type="datetime'6.5'">
              <a:rPr sz="1400">
                <a:solidFill>
                  <a:schemeClr val="bg1"/>
                </a:solidFill>
                <a:sym typeface="Arial Black" panose="020B0A040201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6.5</a:t>
            </a:fld>
            <a:endParaRPr lang="en" sz="1400">
              <a:solidFill>
                <a:schemeClr val="bg1"/>
              </a:solidFill>
              <a:sym typeface="Arial Black" panose="020B0A04020102020204" pitchFamily="34" charset="0"/>
            </a:endParaRPr>
          </a:p>
        </p:txBody>
      </p:sp>
      <p:sp>
        <p:nvSpPr>
          <p:cNvPr id="52" name="object 30"/>
          <p:cNvSpPr txBox="1"/>
          <p:nvPr/>
        </p:nvSpPr>
        <p:spPr>
          <a:xfrm>
            <a:off x="8443769" y="4973257"/>
            <a:ext cx="1797644" cy="290464"/>
          </a:xfrm>
          <a:prstGeom prst="rect">
            <a:avLst/>
          </a:prstGeom>
        </p:spPr>
        <p:txBody>
          <a:bodyPr vert="horz" wrap="square" lIns="0" tIns="112395" rIns="0" bIns="0" rtlCol="0">
            <a:spAutoFit/>
          </a:bodyPr>
          <a:lstStyle/>
          <a:p>
            <a:pPr marL="12700" algn="l" rtl="0">
              <a:lnSpc>
                <a:spcPct val="100000"/>
              </a:lnSpc>
              <a:spcBef>
                <a:spcPts val="885"/>
              </a:spcBef>
            </a:pPr>
            <a:r>
              <a:rPr lang="en" sz="1150" b="0" i="0" u="none" baseline="0">
                <a:solidFill>
                  <a:srgbClr val="3A4D98"/>
                </a:solidFill>
                <a:latin typeface="Myriad pro"/>
                <a:ea typeface="Myriad pro"/>
                <a:cs typeface="Myriad pro"/>
              </a:rPr>
              <a:t>Metals and ores</a:t>
            </a:r>
          </a:p>
        </p:txBody>
      </p:sp>
      <p:sp>
        <p:nvSpPr>
          <p:cNvPr id="27" name="Prostokąt 26"/>
          <p:cNvSpPr/>
          <p:nvPr>
            <p:custDataLst>
              <p:tags r:id="rId13"/>
            </p:custDataLst>
          </p:nvPr>
        </p:nvSpPr>
        <p:spPr bwMode="gray">
          <a:xfrm>
            <a:off x="5629275" y="5205413"/>
            <a:ext cx="276225" cy="192088"/>
          </a:xfrm>
          <a:prstGeom prst="rect">
            <a:avLst/>
          </a:prstGeom>
          <a:solidFill>
            <a:srgbClr val="8E9ED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ctr"/>
          <a:lstStyle/>
          <a:p>
            <a:pPr algn="ctr" rtl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pl-PL" sz="1400" dirty="0">
                <a:solidFill>
                  <a:schemeClr val="tx1"/>
                </a:solidFill>
                <a:sym typeface="Arial Black" panose="020B0A04020102020204" pitchFamily="34" charset="0"/>
              </a:rPr>
              <a:t>6.2</a:t>
            </a:r>
            <a:endParaRPr lang="en" sz="1400" dirty="0">
              <a:solidFill>
                <a:schemeClr val="tx1"/>
              </a:solidFill>
              <a:sym typeface="Arial Black" panose="020B0A04020102020204" pitchFamily="34" charset="0"/>
            </a:endParaRPr>
          </a:p>
        </p:txBody>
      </p:sp>
      <p:sp>
        <p:nvSpPr>
          <p:cNvPr id="42" name="object 11"/>
          <p:cNvSpPr/>
          <p:nvPr/>
        </p:nvSpPr>
        <p:spPr>
          <a:xfrm>
            <a:off x="8245382" y="5616575"/>
            <a:ext cx="114300" cy="620713"/>
          </a:xfrm>
          <a:custGeom>
            <a:avLst/>
            <a:gdLst/>
            <a:ahLst/>
            <a:cxnLst/>
            <a:rect l="l" t="t" r="r" b="b"/>
            <a:pathLst>
              <a:path w="113664" h="620395">
                <a:moveTo>
                  <a:pt x="0" y="620382"/>
                </a:moveTo>
                <a:lnTo>
                  <a:pt x="113042" y="620382"/>
                </a:lnTo>
                <a:lnTo>
                  <a:pt x="113042" y="0"/>
                </a:lnTo>
                <a:lnTo>
                  <a:pt x="0" y="0"/>
                </a:lnTo>
                <a:lnTo>
                  <a:pt x="0" y="620382"/>
                </a:lnTo>
                <a:close/>
              </a:path>
            </a:pathLst>
          </a:custGeom>
          <a:solidFill>
            <a:srgbClr val="B1B1B1"/>
          </a:solidFill>
          <a:ln w="31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lang="en" dirty="0">
              <a:solidFill>
                <a:srgbClr val="3A4D98"/>
              </a:solidFill>
            </a:endParaRPr>
          </a:p>
        </p:txBody>
      </p:sp>
      <p:sp>
        <p:nvSpPr>
          <p:cNvPr id="45" name="object 36"/>
          <p:cNvSpPr txBox="1"/>
          <p:nvPr/>
        </p:nvSpPr>
        <p:spPr>
          <a:xfrm>
            <a:off x="8442157" y="5752409"/>
            <a:ext cx="1765468" cy="290464"/>
          </a:xfrm>
          <a:prstGeom prst="rect">
            <a:avLst/>
          </a:prstGeom>
        </p:spPr>
        <p:txBody>
          <a:bodyPr vert="horz" wrap="square" lIns="0" tIns="112395" rIns="0" bIns="0" rtlCol="0">
            <a:spAutoFit/>
          </a:bodyPr>
          <a:lstStyle/>
          <a:p>
            <a:pPr marL="12700" algn="l" rtl="0">
              <a:lnSpc>
                <a:spcPct val="100000"/>
              </a:lnSpc>
              <a:spcBef>
                <a:spcPts val="885"/>
              </a:spcBef>
            </a:pPr>
            <a:r>
              <a:rPr lang="en" sz="1150" b="0" i="0" u="none" baseline="0">
                <a:solidFill>
                  <a:srgbClr val="3A4D98"/>
                </a:solidFill>
                <a:latin typeface="Myriad pro"/>
                <a:ea typeface="Myriad pro"/>
                <a:cs typeface="Myriad pro"/>
              </a:rPr>
              <a:t>Other cargo</a:t>
            </a:r>
          </a:p>
        </p:txBody>
      </p:sp>
      <p:sp>
        <p:nvSpPr>
          <p:cNvPr id="58" name="Prostokąt 57"/>
          <p:cNvSpPr/>
          <p:nvPr>
            <p:custDataLst>
              <p:tags r:id="rId14"/>
            </p:custDataLst>
          </p:nvPr>
        </p:nvSpPr>
        <p:spPr bwMode="auto">
          <a:xfrm>
            <a:off x="909638" y="5816600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 rtl="0">
              <a:spcBef>
                <a:spcPct val="0"/>
              </a:spcBef>
              <a:spcAft>
                <a:spcPct val="0"/>
              </a:spcAft>
            </a:pPr>
            <a:fld id="{15C980F2-B75B-41D8-992F-0FF0AD7CD67C}" type="datetime'2016'">
              <a:rPr sz="1400">
                <a:solidFill>
                  <a:srgbClr val="555454"/>
                </a:solidFill>
              </a:rPr>
              <a:pPr/>
              <a:t>2016</a:t>
            </a:fld>
            <a:endParaRPr lang="en" sz="1400" dirty="0">
              <a:solidFill>
                <a:srgbClr val="555454"/>
              </a:solidFill>
              <a:sym typeface="Arial" panose="020B0604020202020204" pitchFamily="34" charset="0"/>
            </a:endParaRPr>
          </a:p>
        </p:txBody>
      </p:sp>
      <p:sp>
        <p:nvSpPr>
          <p:cNvPr id="56" name="Prostokąt 55"/>
          <p:cNvSpPr/>
          <p:nvPr>
            <p:custDataLst>
              <p:tags r:id="rId15"/>
            </p:custDataLst>
          </p:nvPr>
        </p:nvSpPr>
        <p:spPr bwMode="auto">
          <a:xfrm>
            <a:off x="2078038" y="5816600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 rtl="0">
              <a:spcBef>
                <a:spcPct val="0"/>
              </a:spcBef>
              <a:spcAft>
                <a:spcPct val="0"/>
              </a:spcAft>
            </a:pPr>
            <a:fld id="{4263728F-E788-4F50-B5E7-CB86515622D3}" type="datetime'2017'">
              <a:rPr sz="1400">
                <a:solidFill>
                  <a:srgbClr val="555454"/>
                </a:solidFill>
              </a:rPr>
              <a:pPr/>
              <a:t>2017</a:t>
            </a:fld>
            <a:endParaRPr lang="en" sz="1400" dirty="0">
              <a:solidFill>
                <a:srgbClr val="555454"/>
              </a:solidFill>
              <a:sym typeface="Arial" panose="020B0604020202020204" pitchFamily="34" charset="0"/>
            </a:endParaRPr>
          </a:p>
        </p:txBody>
      </p:sp>
      <p:sp>
        <p:nvSpPr>
          <p:cNvPr id="55" name="Prostokąt 54"/>
          <p:cNvSpPr/>
          <p:nvPr>
            <p:custDataLst>
              <p:tags r:id="rId16"/>
            </p:custDataLst>
          </p:nvPr>
        </p:nvSpPr>
        <p:spPr bwMode="auto">
          <a:xfrm>
            <a:off x="3244850" y="5816600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 rtl="0">
              <a:spcBef>
                <a:spcPct val="0"/>
              </a:spcBef>
              <a:spcAft>
                <a:spcPct val="0"/>
              </a:spcAft>
            </a:pPr>
            <a:fld id="{D51C7AE9-1B93-4398-9B94-9361AED52583}" type="datetime'2018'">
              <a:rPr sz="1400">
                <a:solidFill>
                  <a:srgbClr val="555454"/>
                </a:solidFill>
              </a:rPr>
              <a:pPr/>
              <a:t>2018</a:t>
            </a:fld>
            <a:endParaRPr lang="en" sz="1400" dirty="0">
              <a:solidFill>
                <a:srgbClr val="555454"/>
              </a:solidFill>
              <a:sym typeface="Arial" panose="020B0604020202020204" pitchFamily="34" charset="0"/>
            </a:endParaRPr>
          </a:p>
        </p:txBody>
      </p:sp>
      <p:sp>
        <p:nvSpPr>
          <p:cNvPr id="49" name="Prostokąt 48"/>
          <p:cNvSpPr/>
          <p:nvPr>
            <p:custDataLst>
              <p:tags r:id="rId17"/>
            </p:custDataLst>
          </p:nvPr>
        </p:nvSpPr>
        <p:spPr bwMode="auto">
          <a:xfrm>
            <a:off x="4413250" y="5816600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 rtl="0">
              <a:spcBef>
                <a:spcPct val="0"/>
              </a:spcBef>
              <a:spcAft>
                <a:spcPct val="0"/>
              </a:spcAft>
            </a:pPr>
            <a:fld id="{2736BE37-9B2D-49D9-9B56-62358B9A356E}" type="datetime'2019'">
              <a:rPr sz="1400">
                <a:solidFill>
                  <a:srgbClr val="555454"/>
                </a:solidFill>
              </a:rPr>
              <a:pPr/>
              <a:t>2019</a:t>
            </a:fld>
            <a:endParaRPr lang="en" sz="1400" dirty="0">
              <a:solidFill>
                <a:srgbClr val="555454"/>
              </a:solidFill>
              <a:sym typeface="Arial" panose="020B0604020202020204" pitchFamily="34" charset="0"/>
            </a:endParaRPr>
          </a:p>
        </p:txBody>
      </p:sp>
      <p:sp>
        <p:nvSpPr>
          <p:cNvPr id="62" name="Prostokąt 61"/>
          <p:cNvSpPr/>
          <p:nvPr>
            <p:custDataLst>
              <p:tags r:id="rId18"/>
            </p:custDataLst>
          </p:nvPr>
        </p:nvSpPr>
        <p:spPr bwMode="auto">
          <a:xfrm>
            <a:off x="5580063" y="5816600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 rtl="0">
              <a:spcBef>
                <a:spcPct val="0"/>
              </a:spcBef>
              <a:spcAft>
                <a:spcPct val="0"/>
              </a:spcAft>
            </a:pPr>
            <a:fld id="{8637D514-DDF7-479A-9612-32B70ADB86BD}" type="datetime'2020'">
              <a:rPr sz="1400">
                <a:solidFill>
                  <a:srgbClr val="555454"/>
                </a:solidFill>
              </a:rPr>
              <a:pPr/>
              <a:t>2020</a:t>
            </a:fld>
            <a:endParaRPr lang="en" sz="1400" dirty="0">
              <a:solidFill>
                <a:srgbClr val="555454"/>
              </a:solidFill>
              <a:sym typeface="Arial" panose="020B0604020202020204" pitchFamily="34" charset="0"/>
            </a:endParaRPr>
          </a:p>
        </p:txBody>
      </p:sp>
      <p:sp>
        <p:nvSpPr>
          <p:cNvPr id="68" name="Prostokąt 67"/>
          <p:cNvSpPr/>
          <p:nvPr>
            <p:custDataLst>
              <p:tags r:id="rId19"/>
            </p:custDataLst>
          </p:nvPr>
        </p:nvSpPr>
        <p:spPr bwMode="auto">
          <a:xfrm>
            <a:off x="6748463" y="5816600"/>
            <a:ext cx="3746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 rtl="0">
              <a:spcBef>
                <a:spcPct val="0"/>
              </a:spcBef>
              <a:spcAft>
                <a:spcPct val="0"/>
              </a:spcAft>
            </a:pPr>
            <a:fld id="{C2925302-3DEE-4C58-B6B9-DDA32F0C471F}" type="datetime'2021'">
              <a:rPr sz="1400">
                <a:solidFill>
                  <a:srgbClr val="555454"/>
                </a:solidFill>
              </a:rPr>
              <a:pPr/>
              <a:t>2021</a:t>
            </a:fld>
            <a:endParaRPr lang="en" sz="1400" dirty="0">
              <a:solidFill>
                <a:srgbClr val="555454"/>
              </a:solidFill>
              <a:sym typeface="Arial" panose="020B0604020202020204" pitchFamily="34" charset="0"/>
            </a:endParaRPr>
          </a:p>
        </p:txBody>
      </p:sp>
      <p:sp>
        <p:nvSpPr>
          <p:cNvPr id="34" name="pole tekstowe 33"/>
          <p:cNvSpPr txBox="1"/>
          <p:nvPr/>
        </p:nvSpPr>
        <p:spPr>
          <a:xfrm>
            <a:off x="675114" y="7182693"/>
            <a:ext cx="946750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rtl="0"/>
            <a:r>
              <a:rPr lang="en" sz="900" b="0" i="1" u="none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To facilitate the reading of this presentation, some figures have been rounded off, which may cause negligible deviations in the presented data.</a:t>
            </a:r>
          </a:p>
        </p:txBody>
      </p:sp>
    </p:spTree>
    <p:extLst>
      <p:ext uri="{BB962C8B-B14F-4D97-AF65-F5344CB8AC3E}">
        <p14:creationId xmlns:p14="http://schemas.microsoft.com/office/powerpoint/2010/main" val="349389886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umeru slajdu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 rtl="0"/>
            <a:fld id="{022581BA-A277-4FE5-891C-DC92D7F0A26A}" type="slidenum">
              <a:rPr/>
              <a:pPr algn="r" rtl="0"/>
              <a:t>7</a:t>
            </a:fld>
            <a:endParaRPr lang="en" dirty="0"/>
          </a:p>
        </p:txBody>
      </p:sp>
      <p:sp>
        <p:nvSpPr>
          <p:cNvPr id="13" name="Prostokąt 12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rtl="0"/>
            <a:endParaRPr lang="en" sz="1400" dirty="0">
              <a:latin typeface="Arial Black" panose="020B0A04020102020204" pitchFamily="34" charset="0"/>
              <a:sym typeface="Arial Black" panose="020B0A04020102020204" pitchFamily="34" charset="0"/>
            </a:endParaRPr>
          </a:p>
        </p:txBody>
      </p:sp>
      <p:graphicFrame>
        <p:nvGraphicFramePr>
          <p:cNvPr id="15" name="Obiekt 1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2218894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06" name="think-cell Slide" r:id="rId23" imgW="384" imgH="384" progId="TCLayout.ActiveDocument.1">
                  <p:embed/>
                </p:oleObj>
              </mc:Choice>
              <mc:Fallback>
                <p:oleObj name="think-cell Slide" r:id="rId23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7" name="Obraz 26" descr="strzalka.png"/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114" y="798439"/>
            <a:ext cx="540000" cy="727158"/>
          </a:xfrm>
          <a:prstGeom prst="rect">
            <a:avLst/>
          </a:prstGeom>
        </p:spPr>
      </p:pic>
      <p:sp>
        <p:nvSpPr>
          <p:cNvPr id="32" name="object 3"/>
          <p:cNvSpPr txBox="1"/>
          <p:nvPr/>
        </p:nvSpPr>
        <p:spPr>
          <a:xfrm>
            <a:off x="1513320" y="802904"/>
            <a:ext cx="8629300" cy="62837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>
              <a:defRPr lang="en"/>
            </a:defPPr>
            <a:lvl1pPr marR="5080">
              <a:spcBef>
                <a:spcPts val="100"/>
              </a:spcBef>
              <a:defRPr sz="2000">
                <a:solidFill>
                  <a:srgbClr val="3A4D98"/>
                </a:solidFill>
                <a:latin typeface="Myriad Pro"/>
                <a:cs typeface="Myriad Pro"/>
              </a:defRPr>
            </a:lvl1pPr>
          </a:lstStyle>
          <a:p>
            <a:pPr algn="l" rtl="0"/>
            <a:r>
              <a:rPr lang="en" b="0" i="0" u="none" baseline="0" dirty="0"/>
              <a:t>Revenues of the PKP CARGO Group from contracts with customers </a:t>
            </a:r>
            <a:r>
              <a:rPr lang="en" dirty="0"/>
              <a:t/>
            </a:r>
            <a:br>
              <a:rPr lang="en" dirty="0"/>
            </a:br>
            <a:r>
              <a:rPr lang="en" b="0" i="0" u="none" baseline="0" dirty="0"/>
              <a:t>in 2016-2021 (PLN billion)</a:t>
            </a:r>
          </a:p>
        </p:txBody>
      </p:sp>
      <p:sp>
        <p:nvSpPr>
          <p:cNvPr id="25" name="pole tekstowe 24"/>
          <p:cNvSpPr txBox="1"/>
          <p:nvPr/>
        </p:nvSpPr>
        <p:spPr>
          <a:xfrm>
            <a:off x="7641725" y="2407625"/>
            <a:ext cx="2984499" cy="321626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l" rtl="0">
              <a:spcBef>
                <a:spcPts val="300"/>
              </a:spcBef>
              <a:spcAft>
                <a:spcPts val="300"/>
              </a:spcAft>
              <a:buClr>
                <a:srgbClr val="004F9F"/>
              </a:buClr>
            </a:pPr>
            <a:r>
              <a:rPr lang="en" sz="1200" b="1" i="0" u="none" baseline="0" dirty="0">
                <a:solidFill>
                  <a:srgbClr val="3A4D98"/>
                </a:solidFill>
                <a:latin typeface="Myriad pro"/>
                <a:ea typeface="Myriad pro"/>
                <a:cs typeface="Myriad pro"/>
              </a:rPr>
              <a:t>In 2021, revenues were affected </a:t>
            </a:r>
            <a:r>
              <a:rPr lang="pl-PL" sz="1200" b="1" i="0" u="none" baseline="0" dirty="0">
                <a:solidFill>
                  <a:srgbClr val="3A4D98"/>
                </a:solidFill>
                <a:latin typeface="Myriad pro"/>
                <a:ea typeface="Myriad pro"/>
                <a:cs typeface="Myriad pro"/>
              </a:rPr>
              <a:t/>
            </a:r>
            <a:br>
              <a:rPr lang="pl-PL" sz="1200" b="1" i="0" u="none" baseline="0" dirty="0">
                <a:solidFill>
                  <a:srgbClr val="3A4D98"/>
                </a:solidFill>
                <a:latin typeface="Myriad pro"/>
                <a:ea typeface="Myriad pro"/>
                <a:cs typeface="Myriad pro"/>
              </a:rPr>
            </a:br>
            <a:r>
              <a:rPr lang="en" sz="1200" b="1" i="0" u="none" baseline="0" dirty="0">
                <a:solidFill>
                  <a:srgbClr val="3A4D98"/>
                </a:solidFill>
                <a:latin typeface="Myriad pro"/>
                <a:ea typeface="Myriad pro"/>
                <a:cs typeface="Myriad pro"/>
              </a:rPr>
              <a:t>chiefly by:</a:t>
            </a:r>
          </a:p>
          <a:p>
            <a:pPr marL="171450" lvl="0" indent="-171450" algn="l" rtl="0">
              <a:spcBef>
                <a:spcPts val="300"/>
              </a:spcBef>
              <a:spcAft>
                <a:spcPts val="300"/>
              </a:spcAft>
              <a:buClr>
                <a:srgbClr val="004F9F"/>
              </a:buClr>
              <a:buFont typeface="Wingdings" panose="05000000000000000000" pitchFamily="2" charset="2"/>
              <a:buChar char="§"/>
            </a:pPr>
            <a:r>
              <a:rPr lang="en" sz="1200" b="0" i="0" u="none" baseline="0" dirty="0">
                <a:solidFill>
                  <a:srgbClr val="3A4D98"/>
                </a:solidFill>
              </a:rPr>
              <a:t>increased demand for transport services associated with improved business conditions</a:t>
            </a:r>
          </a:p>
          <a:p>
            <a:pPr marL="171450" indent="-171450" algn="l" rtl="0">
              <a:spcBef>
                <a:spcPts val="300"/>
              </a:spcBef>
              <a:spcAft>
                <a:spcPts val="300"/>
              </a:spcAft>
              <a:buClr>
                <a:srgbClr val="004F9F"/>
              </a:buClr>
              <a:buFont typeface="Wingdings" panose="05000000000000000000" pitchFamily="2" charset="2"/>
              <a:buChar char="§"/>
            </a:pPr>
            <a:r>
              <a:rPr lang="en" sz="1200" b="0" i="0" u="none" baseline="0" dirty="0">
                <a:solidFill>
                  <a:srgbClr val="3A4D98"/>
                </a:solidFill>
              </a:rPr>
              <a:t>increased revenues from contracts with customers:</a:t>
            </a:r>
            <a:endParaRPr lang="en" sz="1200" dirty="0">
              <a:solidFill>
                <a:srgbClr val="3A4D98"/>
              </a:solidFill>
            </a:endParaRPr>
          </a:p>
          <a:p>
            <a:pPr marL="628650" lvl="1" indent="-171450" algn="l" rtl="0">
              <a:spcBef>
                <a:spcPts val="300"/>
              </a:spcBef>
              <a:spcAft>
                <a:spcPts val="300"/>
              </a:spcAft>
              <a:buClr>
                <a:srgbClr val="004F9F"/>
              </a:buClr>
              <a:buFont typeface="Courier New" panose="02070309020205020404" pitchFamily="49" charset="0"/>
              <a:buChar char="o"/>
            </a:pPr>
            <a:r>
              <a:rPr lang="en" sz="1200" b="0" i="0" u="none" baseline="0" dirty="0">
                <a:solidFill>
                  <a:srgbClr val="3A4D98"/>
                </a:solidFill>
              </a:rPr>
              <a:t>from transportation and forwarding services,</a:t>
            </a:r>
          </a:p>
          <a:p>
            <a:pPr marL="628650" lvl="1" indent="-171450" algn="l" rtl="0">
              <a:spcBef>
                <a:spcPts val="300"/>
              </a:spcBef>
              <a:spcAft>
                <a:spcPts val="300"/>
              </a:spcAft>
              <a:buClr>
                <a:srgbClr val="004F9F"/>
              </a:buClr>
              <a:buFont typeface="Courier New" panose="02070309020205020404" pitchFamily="49" charset="0"/>
              <a:buChar char="o"/>
            </a:pPr>
            <a:r>
              <a:rPr lang="en" sz="1200" b="0" i="0" u="none" baseline="0" dirty="0">
                <a:solidFill>
                  <a:srgbClr val="3A4D98"/>
                </a:solidFill>
              </a:rPr>
              <a:t>from siding and traction services</a:t>
            </a:r>
            <a:endParaRPr lang="en" sz="1200" dirty="0">
              <a:solidFill>
                <a:srgbClr val="3A4D98"/>
              </a:solidFill>
            </a:endParaRPr>
          </a:p>
          <a:p>
            <a:pPr marL="628650" lvl="1" indent="-171450" algn="l" rtl="0">
              <a:spcBef>
                <a:spcPts val="300"/>
              </a:spcBef>
              <a:spcAft>
                <a:spcPts val="300"/>
              </a:spcAft>
              <a:buClr>
                <a:srgbClr val="004F9F"/>
              </a:buClr>
              <a:buFont typeface="Courier New" panose="02070309020205020404" pitchFamily="49" charset="0"/>
              <a:buChar char="o"/>
            </a:pPr>
            <a:r>
              <a:rPr lang="en" sz="1200" b="0" i="0" u="none" baseline="0" dirty="0">
                <a:solidFill>
                  <a:srgbClr val="3A4D98"/>
                </a:solidFill>
              </a:rPr>
              <a:t>from sales of materials</a:t>
            </a:r>
          </a:p>
          <a:p>
            <a:pPr marL="171450" lvl="0" indent="-171450" algn="l" rtl="0">
              <a:spcBef>
                <a:spcPts val="300"/>
              </a:spcBef>
              <a:spcAft>
                <a:spcPts val="300"/>
              </a:spcAft>
              <a:buClr>
                <a:srgbClr val="004F9F"/>
              </a:buClr>
              <a:buFont typeface="Wingdings" panose="05000000000000000000" pitchFamily="2" charset="2"/>
              <a:buChar char="§"/>
            </a:pPr>
            <a:r>
              <a:rPr lang="en" sz="1200" b="0" i="0" u="none" baseline="0" dirty="0">
                <a:solidFill>
                  <a:srgbClr val="3A4D98"/>
                </a:solidFill>
              </a:rPr>
              <a:t>increase in freight volume and freight turnover by 8.6% and 8.2%, respectively</a:t>
            </a:r>
          </a:p>
          <a:p>
            <a:pPr algn="l" rtl="0">
              <a:spcBef>
                <a:spcPts val="300"/>
              </a:spcBef>
              <a:spcAft>
                <a:spcPts val="300"/>
              </a:spcAft>
              <a:buClr>
                <a:srgbClr val="004F9F"/>
              </a:buClr>
            </a:pPr>
            <a:endParaRPr lang="en" sz="1200" strike="sngStrike" dirty="0">
              <a:solidFill>
                <a:srgbClr val="3A4D98"/>
              </a:solidFill>
              <a:cs typeface="Myriad pro"/>
            </a:endParaRPr>
          </a:p>
        </p:txBody>
      </p:sp>
      <p:graphicFrame>
        <p:nvGraphicFramePr>
          <p:cNvPr id="65" name="Chart 3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51395076"/>
              </p:ext>
            </p:extLst>
          </p:nvPr>
        </p:nvGraphicFramePr>
        <p:xfrm>
          <a:off x="452438" y="2611438"/>
          <a:ext cx="6964362" cy="31400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cxnSp>
        <p:nvCxnSpPr>
          <p:cNvPr id="8" name="Łącznik prosty 7"/>
          <p:cNvCxnSpPr/>
          <p:nvPr>
            <p:custDataLst>
              <p:tags r:id="rId5"/>
            </p:custDataLst>
          </p:nvPr>
        </p:nvCxnSpPr>
        <p:spPr bwMode="auto">
          <a:xfrm flipV="1">
            <a:off x="5632450" y="3028950"/>
            <a:ext cx="0" cy="26193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Łącznik prosty 8"/>
          <p:cNvCxnSpPr/>
          <p:nvPr>
            <p:custDataLst>
              <p:tags r:id="rId6"/>
            </p:custDataLst>
          </p:nvPr>
        </p:nvCxnSpPr>
        <p:spPr bwMode="auto">
          <a:xfrm>
            <a:off x="5632450" y="3028950"/>
            <a:ext cx="113347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Łącznik prosty 9"/>
          <p:cNvCxnSpPr/>
          <p:nvPr>
            <p:custDataLst>
              <p:tags r:id="rId7"/>
            </p:custDataLst>
          </p:nvPr>
        </p:nvCxnSpPr>
        <p:spPr bwMode="auto">
          <a:xfrm>
            <a:off x="6765925" y="3028950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1" name="Prostokąt 30"/>
          <p:cNvSpPr/>
          <p:nvPr>
            <p:custDataLst>
              <p:tags r:id="rId8"/>
            </p:custDataLst>
          </p:nvPr>
        </p:nvSpPr>
        <p:spPr bwMode="gray">
          <a:xfrm>
            <a:off x="3167063" y="4098925"/>
            <a:ext cx="400050" cy="1651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2225" tIns="0" rIns="22225" bIns="0" rtlCol="0" anchor="ctr"/>
          <a:lstStyle/>
          <a:p>
            <a:pPr algn="ctr" rtl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7E42E4F-12D0-4CB5-B33F-D8D9042EF028}" type="datetime'5.18'">
              <a:rPr sz="1200">
                <a:solidFill>
                  <a:schemeClr val="tx1"/>
                </a:solidFill>
                <a:latin typeface="Arial Black" panose="020B0A04020102020204" pitchFamily="34" charset="0"/>
              </a:rPr>
              <a:pPr/>
              <a:t>5.18</a:t>
            </a:fld>
            <a:endParaRPr lang="en" sz="1200">
              <a:solidFill>
                <a:schemeClr val="tx1"/>
              </a:solidFill>
              <a:latin typeface="Arial Black" panose="020B0A040201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33" name="Prostokąt 32"/>
          <p:cNvSpPr/>
          <p:nvPr>
            <p:custDataLst>
              <p:tags r:id="rId9"/>
            </p:custDataLst>
          </p:nvPr>
        </p:nvSpPr>
        <p:spPr bwMode="gray">
          <a:xfrm>
            <a:off x="4300538" y="4213225"/>
            <a:ext cx="400050" cy="1651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2225" tIns="0" rIns="22225" bIns="0" rtlCol="0" anchor="ctr"/>
          <a:lstStyle/>
          <a:p>
            <a:pPr algn="ctr" rtl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C6F8D6D-20B8-4F70-A927-B77B41BB3229}" type="datetime'4.78'">
              <a:rPr sz="1200">
                <a:solidFill>
                  <a:schemeClr val="tx1"/>
                </a:solidFill>
                <a:latin typeface="Arial Black" panose="020B0A04020102020204" pitchFamily="34" charset="0"/>
              </a:rPr>
              <a:pPr/>
              <a:t>4.78</a:t>
            </a:fld>
            <a:endParaRPr lang="en" sz="1200" dirty="0">
              <a:solidFill>
                <a:schemeClr val="tx1"/>
              </a:solidFill>
              <a:latin typeface="Arial Black" panose="020B0A040201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28" name="Prostokąt 27"/>
          <p:cNvSpPr/>
          <p:nvPr>
            <p:custDataLst>
              <p:tags r:id="rId10"/>
            </p:custDataLst>
          </p:nvPr>
        </p:nvSpPr>
        <p:spPr bwMode="gray">
          <a:xfrm>
            <a:off x="2033588" y="4240213"/>
            <a:ext cx="400050" cy="1651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2225" tIns="0" rIns="22225" bIns="0" rtlCol="0" anchor="ctr"/>
          <a:lstStyle/>
          <a:p>
            <a:pPr algn="ctr" rtl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A568E97-F9BB-4B8F-99CC-605CBECCDC44}" type="datetime'4.69'">
              <a:rPr sz="1200">
                <a:solidFill>
                  <a:schemeClr val="tx1"/>
                </a:solidFill>
                <a:latin typeface="Arial Black" panose="020B0A04020102020204" pitchFamily="34" charset="0"/>
              </a:rPr>
              <a:pPr/>
              <a:t>4.69</a:t>
            </a:fld>
            <a:endParaRPr lang="en" sz="1200">
              <a:solidFill>
                <a:schemeClr val="tx1"/>
              </a:solidFill>
              <a:latin typeface="Arial Black" panose="020B0A040201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24" name="Prostokąt 23"/>
          <p:cNvSpPr/>
          <p:nvPr>
            <p:custDataLst>
              <p:tags r:id="rId11"/>
            </p:custDataLst>
          </p:nvPr>
        </p:nvSpPr>
        <p:spPr bwMode="gray">
          <a:xfrm>
            <a:off x="900113" y="4330700"/>
            <a:ext cx="400050" cy="1651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2225" tIns="0" rIns="22225" bIns="0" rtlCol="0" anchor="ctr"/>
          <a:lstStyle/>
          <a:p>
            <a:pPr algn="ctr" rtl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86B2EE3-BABD-4EA6-BB3F-B908C4EAD95C}" type="datetime'4.37'">
              <a:rPr sz="1200">
                <a:solidFill>
                  <a:schemeClr val="tx1"/>
                </a:solidFill>
                <a:latin typeface="Arial Black" panose="020B0A04020102020204" pitchFamily="34" charset="0"/>
              </a:rPr>
              <a:pPr/>
              <a:t>4.37</a:t>
            </a:fld>
            <a:endParaRPr lang="en" sz="1200">
              <a:solidFill>
                <a:schemeClr val="tx1"/>
              </a:solidFill>
              <a:latin typeface="Arial Black" panose="020B0A040201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45" name="Prostokąt 44"/>
          <p:cNvSpPr/>
          <p:nvPr>
            <p:custDataLst>
              <p:tags r:id="rId12"/>
            </p:custDataLst>
          </p:nvPr>
        </p:nvSpPr>
        <p:spPr bwMode="gray">
          <a:xfrm>
            <a:off x="6565900" y="4360863"/>
            <a:ext cx="400050" cy="1651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2225" tIns="0" rIns="22225" bIns="0" rtlCol="0" anchor="ctr"/>
          <a:lstStyle/>
          <a:p>
            <a:pPr algn="ctr" rtl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A2F641B2-9E22-4301-A40C-566C14325868}" type="datetime'4.27'">
              <a:rPr sz="1200">
                <a:solidFill>
                  <a:schemeClr val="bg1"/>
                </a:solidFill>
                <a:latin typeface="Arial Black" panose="020B0A04020102020204" pitchFamily="34" charset="0"/>
                <a:sym typeface="+mn-lt"/>
              </a:rPr>
              <a:pPr/>
              <a:t>4.27</a:t>
            </a:fld>
            <a:endParaRPr lang="en" sz="1200" dirty="0">
              <a:solidFill>
                <a:schemeClr val="bg1"/>
              </a:solidFill>
              <a:latin typeface="Arial Black" panose="020B0A04020102020204" pitchFamily="34" charset="0"/>
              <a:sym typeface="+mn-lt"/>
            </a:endParaRPr>
          </a:p>
        </p:txBody>
      </p:sp>
      <p:sp>
        <p:nvSpPr>
          <p:cNvPr id="37" name="Prostokąt 36"/>
          <p:cNvSpPr/>
          <p:nvPr>
            <p:custDataLst>
              <p:tags r:id="rId13"/>
            </p:custDataLst>
          </p:nvPr>
        </p:nvSpPr>
        <p:spPr bwMode="gray">
          <a:xfrm>
            <a:off x="5432425" y="4416425"/>
            <a:ext cx="400050" cy="1651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2225" tIns="0" rIns="22225" bIns="0" rtlCol="0" anchor="ctr"/>
          <a:lstStyle/>
          <a:p>
            <a:pPr algn="ctr" rtl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EF1677D-2ADB-4475-9C25-B39B6FDA21B1}" type="datetime'4.08'">
              <a:rPr sz="1200">
                <a:solidFill>
                  <a:schemeClr val="tx1"/>
                </a:solidFill>
                <a:latin typeface="Arial Black" panose="020B0A04020102020204" pitchFamily="34" charset="0"/>
              </a:rPr>
              <a:pPr/>
              <a:t>4.08</a:t>
            </a:fld>
            <a:endParaRPr lang="en" sz="1200" dirty="0">
              <a:solidFill>
                <a:schemeClr val="tx1"/>
              </a:solidFill>
              <a:latin typeface="Arial Black" panose="020B0A04020102020204" pitchFamily="34" charset="0"/>
              <a:sym typeface="+mn-lt"/>
            </a:endParaRPr>
          </a:p>
        </p:txBody>
      </p:sp>
      <p:sp>
        <p:nvSpPr>
          <p:cNvPr id="26" name="Prostokąt 25"/>
          <p:cNvSpPr/>
          <p:nvPr>
            <p:custDataLst>
              <p:tags r:id="rId14"/>
            </p:custDataLst>
          </p:nvPr>
        </p:nvSpPr>
        <p:spPr bwMode="auto">
          <a:xfrm>
            <a:off x="896938" y="5727700"/>
            <a:ext cx="40640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 rtl="0">
              <a:spcBef>
                <a:spcPct val="0"/>
              </a:spcBef>
              <a:spcAft>
                <a:spcPct val="0"/>
              </a:spcAft>
            </a:pPr>
            <a:fld id="{2993D9CA-E635-4847-93DC-7E81ECD5C6C6}" type="datetime'2016'">
              <a:rPr sz="1400" i="1">
                <a:solidFill>
                  <a:srgbClr val="555454"/>
                </a:solidFill>
                <a:latin typeface="Arial" panose="020B0604020202020204" pitchFamily="34" charset="0"/>
              </a:rPr>
              <a:pPr/>
              <a:t>2016</a:t>
            </a:fld>
            <a:endParaRPr lang="en" sz="1400" i="1">
              <a:solidFill>
                <a:srgbClr val="555454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Prostokąt 16"/>
          <p:cNvSpPr/>
          <p:nvPr>
            <p:custDataLst>
              <p:tags r:id="rId15"/>
            </p:custDataLst>
          </p:nvPr>
        </p:nvSpPr>
        <p:spPr bwMode="auto">
          <a:xfrm>
            <a:off x="2030413" y="5727700"/>
            <a:ext cx="40640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 rtl="0">
              <a:spcBef>
                <a:spcPct val="0"/>
              </a:spcBef>
              <a:spcAft>
                <a:spcPct val="0"/>
              </a:spcAft>
            </a:pPr>
            <a:fld id="{BAE706D0-39C1-4239-A072-FC2FD8E70372}" type="datetime'2017'">
              <a:rPr sz="1400" i="1">
                <a:solidFill>
                  <a:srgbClr val="555454"/>
                </a:solidFill>
                <a:latin typeface="Arial" panose="020B0604020202020204" pitchFamily="34" charset="0"/>
              </a:rPr>
              <a:pPr/>
              <a:t>2017</a:t>
            </a:fld>
            <a:endParaRPr lang="en" sz="1400" i="1">
              <a:solidFill>
                <a:srgbClr val="555454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" name="Prostokąt 17"/>
          <p:cNvSpPr/>
          <p:nvPr>
            <p:custDataLst>
              <p:tags r:id="rId16"/>
            </p:custDataLst>
          </p:nvPr>
        </p:nvSpPr>
        <p:spPr bwMode="auto">
          <a:xfrm>
            <a:off x="3163888" y="5727700"/>
            <a:ext cx="40640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 rtl="0">
              <a:spcBef>
                <a:spcPct val="0"/>
              </a:spcBef>
              <a:spcAft>
                <a:spcPct val="0"/>
              </a:spcAft>
            </a:pPr>
            <a:fld id="{3B146FF4-65DD-482E-8640-B250CA4A5072}" type="datetime'2018'">
              <a:rPr sz="1400" i="1">
                <a:solidFill>
                  <a:srgbClr val="555454"/>
                </a:solidFill>
                <a:latin typeface="Arial" panose="020B0604020202020204" pitchFamily="34" charset="0"/>
              </a:rPr>
              <a:pPr/>
              <a:t>2018</a:t>
            </a:fld>
            <a:endParaRPr lang="en" sz="1400" i="1">
              <a:solidFill>
                <a:srgbClr val="555454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5" name="Prostokąt 34"/>
          <p:cNvSpPr/>
          <p:nvPr>
            <p:custDataLst>
              <p:tags r:id="rId17"/>
            </p:custDataLst>
          </p:nvPr>
        </p:nvSpPr>
        <p:spPr bwMode="auto">
          <a:xfrm>
            <a:off x="4297363" y="5727700"/>
            <a:ext cx="40640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 rtl="0">
              <a:spcBef>
                <a:spcPct val="0"/>
              </a:spcBef>
              <a:spcAft>
                <a:spcPct val="0"/>
              </a:spcAft>
            </a:pPr>
            <a:fld id="{3D6AB984-6894-4FA1-84E6-9E84A6712E2E}" type="datetime'2019'">
              <a:rPr sz="1400" i="1">
                <a:solidFill>
                  <a:srgbClr val="555454"/>
                </a:solidFill>
                <a:latin typeface="Arial" panose="020B0604020202020204" pitchFamily="34" charset="0"/>
              </a:rPr>
              <a:pPr/>
              <a:t>2019</a:t>
            </a:fld>
            <a:endParaRPr lang="en" sz="1400" i="1">
              <a:solidFill>
                <a:srgbClr val="555454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8" name="Prostokąt 37"/>
          <p:cNvSpPr/>
          <p:nvPr>
            <p:custDataLst>
              <p:tags r:id="rId18"/>
            </p:custDataLst>
          </p:nvPr>
        </p:nvSpPr>
        <p:spPr bwMode="auto">
          <a:xfrm>
            <a:off x="5429250" y="5727700"/>
            <a:ext cx="40640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 rtl="0">
              <a:spcBef>
                <a:spcPct val="0"/>
              </a:spcBef>
              <a:spcAft>
                <a:spcPct val="0"/>
              </a:spcAft>
            </a:pPr>
            <a:fld id="{9C7B0959-4710-402A-9CBA-321B8FB0FC82}" type="datetime'2020'">
              <a:rPr sz="1400" i="1">
                <a:solidFill>
                  <a:srgbClr val="555454"/>
                </a:solidFill>
                <a:latin typeface="Arial" panose="020B0604020202020204" pitchFamily="34" charset="0"/>
              </a:rPr>
              <a:pPr/>
              <a:t>2020</a:t>
            </a:fld>
            <a:endParaRPr lang="en" sz="1400" i="1">
              <a:solidFill>
                <a:srgbClr val="555454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0" name="Prostokąt 39"/>
          <p:cNvSpPr/>
          <p:nvPr>
            <p:custDataLst>
              <p:tags r:id="rId19"/>
            </p:custDataLst>
          </p:nvPr>
        </p:nvSpPr>
        <p:spPr bwMode="auto">
          <a:xfrm>
            <a:off x="6562725" y="5727700"/>
            <a:ext cx="40640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 rtl="0">
              <a:spcBef>
                <a:spcPct val="0"/>
              </a:spcBef>
              <a:spcAft>
                <a:spcPct val="0"/>
              </a:spcAft>
            </a:pPr>
            <a:fld id="{BF34FB52-8421-4A86-8A79-979E8BEDCF0D}" type="datetime'2021'">
              <a:rPr sz="1400" i="1">
                <a:solidFill>
                  <a:srgbClr val="555454"/>
                </a:solidFill>
                <a:latin typeface="Arial" panose="020B0604020202020204" pitchFamily="34" charset="0"/>
              </a:rPr>
              <a:pPr/>
              <a:t>2021</a:t>
            </a:fld>
            <a:endParaRPr lang="en" sz="1400" i="1">
              <a:solidFill>
                <a:srgbClr val="555454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" name="pole tekstowe 18"/>
          <p:cNvSpPr txBox="1"/>
          <p:nvPr/>
        </p:nvSpPr>
        <p:spPr>
          <a:xfrm>
            <a:off x="675114" y="7182693"/>
            <a:ext cx="946750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rtl="0"/>
            <a:r>
              <a:rPr lang="en" sz="900" b="0" i="1" u="none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To facilitate the reading of this presentation, some figures have been rounded off, which may cause negligible deviations in the presented data.</a:t>
            </a:r>
          </a:p>
        </p:txBody>
      </p:sp>
      <p:sp>
        <p:nvSpPr>
          <p:cNvPr id="6" name="Elipsa 5"/>
          <p:cNvSpPr/>
          <p:nvPr>
            <p:custDataLst>
              <p:tags r:id="rId20"/>
            </p:custDataLst>
          </p:nvPr>
        </p:nvSpPr>
        <p:spPr bwMode="auto">
          <a:xfrm>
            <a:off x="5949950" y="2855913"/>
            <a:ext cx="498475" cy="346075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rtl="0">
              <a:spcBef>
                <a:spcPct val="0"/>
              </a:spcBef>
              <a:spcAft>
                <a:spcPct val="0"/>
              </a:spcAft>
            </a:pPr>
            <a:fld id="{5C31B38B-FB7D-48F4-8F36-FA788011A352}" type="datetime'+5%'">
              <a:rPr sz="1600" b="1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+5%</a:t>
            </a:fld>
            <a:endParaRPr lang="en" sz="1600" b="1">
              <a:solidFill>
                <a:schemeClr val="tx1"/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9582443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ymbol zastępczy numeru slajdu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 rtl="0"/>
            <a:fld id="{022581BA-A277-4FE5-891C-DC92D7F0A26A}" type="slidenum">
              <a:rPr/>
              <a:pPr algn="r" rtl="0"/>
              <a:t>8</a:t>
            </a:fld>
            <a:endParaRPr lang="en" dirty="0"/>
          </a:p>
        </p:txBody>
      </p:sp>
      <p:sp>
        <p:nvSpPr>
          <p:cNvPr id="31" name="Prostokąt 30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rtl="0"/>
            <a:endParaRPr lang="en" sz="1200" b="1" dirty="0">
              <a:latin typeface="Arial Black" panose="020B0A040201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60" name="Rectangle 59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rtl="0">
              <a:spcBef>
                <a:spcPct val="0"/>
              </a:spcBef>
              <a:spcAft>
                <a:spcPct val="0"/>
              </a:spcAft>
            </a:pPr>
            <a:endParaRPr lang="en" sz="1200" dirty="0">
              <a:latin typeface="Arial Black" panose="020B0A040201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9" name="Prostokąt 8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rtl="0"/>
            <a:endParaRPr lang="en" sz="14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67" name="Object 66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209893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929" name="think-cell Slide" r:id="rId17" imgW="395" imgH="394" progId="TCLayout.ActiveDocument.1">
                  <p:embed/>
                </p:oleObj>
              </mc:Choice>
              <mc:Fallback>
                <p:oleObj name="think-cell Slide" r:id="rId17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6" name="Obraz 55" descr="strzalka.png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114" y="798439"/>
            <a:ext cx="540000" cy="727158"/>
          </a:xfrm>
          <a:prstGeom prst="rect">
            <a:avLst/>
          </a:prstGeom>
        </p:spPr>
      </p:pic>
      <p:sp>
        <p:nvSpPr>
          <p:cNvPr id="57" name="object 3"/>
          <p:cNvSpPr txBox="1"/>
          <p:nvPr/>
        </p:nvSpPr>
        <p:spPr>
          <a:xfrm>
            <a:off x="1513319" y="802904"/>
            <a:ext cx="8721294" cy="3206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algn="l" rtl="0">
              <a:spcBef>
                <a:spcPts val="100"/>
              </a:spcBef>
            </a:pPr>
            <a:r>
              <a:rPr lang="en" sz="2000" b="0" i="0" u="none" spc="-5" baseline="0">
                <a:solidFill>
                  <a:srgbClr val="3A4D98"/>
                </a:solidFill>
                <a:latin typeface="Myriad Pro"/>
                <a:ea typeface="Myriad Pro"/>
                <a:cs typeface="Myriad Pro"/>
              </a:rPr>
              <a:t>Unit costs and revenues of the PKP CARGO Group</a:t>
            </a:r>
          </a:p>
        </p:txBody>
      </p:sp>
      <p:sp>
        <p:nvSpPr>
          <p:cNvPr id="59" name="object 59"/>
          <p:cNvSpPr txBox="1"/>
          <p:nvPr/>
        </p:nvSpPr>
        <p:spPr>
          <a:xfrm>
            <a:off x="2251366" y="802904"/>
            <a:ext cx="7743025" cy="3206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algn="l" rtl="0">
              <a:lnSpc>
                <a:spcPct val="100000"/>
              </a:lnSpc>
              <a:spcBef>
                <a:spcPts val="100"/>
              </a:spcBef>
            </a:pPr>
            <a:endParaRPr lang="en" sz="2000" spc="-5" dirty="0">
              <a:solidFill>
                <a:srgbClr val="3A4D98"/>
              </a:solidFill>
              <a:latin typeface="Myriad Pro"/>
              <a:cs typeface="Myriad Pro"/>
            </a:endParaRPr>
          </a:p>
        </p:txBody>
      </p:sp>
      <p:sp>
        <p:nvSpPr>
          <p:cNvPr id="98" name="object 7"/>
          <p:cNvSpPr txBox="1"/>
          <p:nvPr/>
        </p:nvSpPr>
        <p:spPr>
          <a:xfrm>
            <a:off x="5746750" y="1536543"/>
            <a:ext cx="1989138" cy="56169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3970" marR="5080">
              <a:spcBef>
                <a:spcPts val="100"/>
              </a:spcBef>
            </a:pPr>
            <a:r>
              <a:rPr lang="en" sz="1200" b="1" spc="10" dirty="0">
                <a:solidFill>
                  <a:srgbClr val="3A4D98"/>
                </a:solidFill>
                <a:latin typeface="Myriad Pro"/>
                <a:ea typeface="Myriad Pro"/>
                <a:cs typeface="Myriad Pro"/>
              </a:rPr>
              <a:t>UNIT COSTS </a:t>
            </a:r>
            <a:r>
              <a:rPr lang="pl-PL" sz="1200" b="1" spc="10" dirty="0">
                <a:solidFill>
                  <a:srgbClr val="3A4D98"/>
                </a:solidFill>
                <a:latin typeface="Myriad Pro"/>
                <a:ea typeface="Myriad Pro"/>
                <a:cs typeface="Myriad Pro"/>
              </a:rPr>
              <a:t/>
            </a:r>
            <a:br>
              <a:rPr lang="pl-PL" sz="1200" b="1" spc="10" dirty="0">
                <a:solidFill>
                  <a:srgbClr val="3A4D98"/>
                </a:solidFill>
                <a:latin typeface="Myriad Pro"/>
                <a:ea typeface="Myriad Pro"/>
                <a:cs typeface="Myriad Pro"/>
              </a:rPr>
            </a:br>
            <a:r>
              <a:rPr lang="pl-PL" sz="1200" b="1" spc="10" dirty="0">
                <a:solidFill>
                  <a:srgbClr val="3A4D98"/>
                </a:solidFill>
                <a:latin typeface="Myriad Pro"/>
                <a:ea typeface="Myriad Pro"/>
                <a:cs typeface="Myriad Pro"/>
              </a:rPr>
              <a:t>OF THE </a:t>
            </a:r>
            <a:r>
              <a:rPr lang="en" sz="1200" b="1" spc="10" dirty="0">
                <a:solidFill>
                  <a:srgbClr val="3A4D98"/>
                </a:solidFill>
                <a:latin typeface="Myriad Pro"/>
                <a:ea typeface="Myriad Pro"/>
                <a:cs typeface="Myriad Pro"/>
              </a:rPr>
              <a:t>PKP </a:t>
            </a:r>
            <a:r>
              <a:rPr lang="en" sz="1200" b="1" i="0" u="none" spc="10" baseline="0" dirty="0">
                <a:solidFill>
                  <a:srgbClr val="3A4D98"/>
                </a:solidFill>
                <a:latin typeface="Myriad Pro"/>
                <a:ea typeface="Myriad Pro"/>
                <a:cs typeface="Myriad Pro"/>
              </a:rPr>
              <a:t>CARGO GROUP</a:t>
            </a:r>
            <a:endParaRPr sz="1200" dirty="0">
              <a:solidFill>
                <a:srgbClr val="454545"/>
              </a:solidFill>
              <a:latin typeface="Myriad Pro"/>
              <a:cs typeface="Myriad Pro"/>
            </a:endParaRPr>
          </a:p>
          <a:p>
            <a:pPr marL="12700" algn="l" rtl="0">
              <a:lnSpc>
                <a:spcPts val="1415"/>
              </a:lnSpc>
            </a:pPr>
            <a:r>
              <a:rPr lang="en" sz="1200" b="0" i="0" u="none" spc="-25" baseline="0" dirty="0">
                <a:solidFill>
                  <a:srgbClr val="454545"/>
                </a:solidFill>
                <a:latin typeface="Arial"/>
                <a:ea typeface="Arial"/>
                <a:cs typeface="Arial"/>
              </a:rPr>
              <a:t>PLN / thous</a:t>
            </a:r>
            <a:r>
              <a:rPr lang="pl-PL" sz="1200" spc="-25" dirty="0">
                <a:solidFill>
                  <a:srgbClr val="454545"/>
                </a:solidFill>
                <a:latin typeface="Arial"/>
                <a:ea typeface="Arial"/>
                <a:cs typeface="Arial"/>
              </a:rPr>
              <a:t>. </a:t>
            </a:r>
            <a:r>
              <a:rPr lang="en" sz="1200" b="0" i="0" u="none" spc="-25" baseline="0" dirty="0">
                <a:solidFill>
                  <a:srgbClr val="454545"/>
                </a:solidFill>
                <a:latin typeface="Arial"/>
                <a:ea typeface="Arial"/>
                <a:cs typeface="Arial"/>
              </a:rPr>
              <a:t>tkm</a:t>
            </a:r>
            <a:endParaRPr sz="1200" dirty="0">
              <a:solidFill>
                <a:srgbClr val="454545"/>
              </a:solidFill>
              <a:latin typeface="Arial"/>
              <a:cs typeface="Arial"/>
            </a:endParaRPr>
          </a:p>
        </p:txBody>
      </p:sp>
      <p:sp>
        <p:nvSpPr>
          <p:cNvPr id="61" name="object 61"/>
          <p:cNvSpPr txBox="1"/>
          <p:nvPr/>
        </p:nvSpPr>
        <p:spPr>
          <a:xfrm>
            <a:off x="1367281" y="1537693"/>
            <a:ext cx="2305462" cy="57964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3970" marR="5080">
              <a:spcBef>
                <a:spcPts val="100"/>
              </a:spcBef>
            </a:pPr>
            <a:r>
              <a:rPr lang="en" sz="1200" b="1" spc="15" dirty="0">
                <a:solidFill>
                  <a:srgbClr val="3A4D98"/>
                </a:solidFill>
                <a:latin typeface="Myriad Pro"/>
              </a:rPr>
              <a:t>UNIT REVENUE</a:t>
            </a:r>
            <a:r>
              <a:rPr lang="pl-PL" sz="1200" b="1" spc="15" dirty="0">
                <a:solidFill>
                  <a:srgbClr val="3A4D98"/>
                </a:solidFill>
                <a:latin typeface="Myriad Pro"/>
              </a:rPr>
              <a:t>S </a:t>
            </a:r>
            <a:br>
              <a:rPr lang="pl-PL" sz="1200" b="1" spc="15" dirty="0">
                <a:solidFill>
                  <a:srgbClr val="3A4D98"/>
                </a:solidFill>
                <a:latin typeface="Myriad Pro"/>
              </a:rPr>
            </a:br>
            <a:r>
              <a:rPr lang="pl-PL" sz="1200" b="1" spc="15" dirty="0">
                <a:solidFill>
                  <a:srgbClr val="3A4D98"/>
                </a:solidFill>
                <a:latin typeface="Myriad Pro"/>
              </a:rPr>
              <a:t>OF THE </a:t>
            </a:r>
            <a:r>
              <a:rPr lang="en" sz="1200" b="1" spc="15" dirty="0">
                <a:solidFill>
                  <a:srgbClr val="3A4D98"/>
                </a:solidFill>
                <a:latin typeface="Myriad Pro"/>
              </a:rPr>
              <a:t> PKP </a:t>
            </a:r>
            <a:r>
              <a:rPr lang="en" sz="1200" b="1" i="0" u="none" spc="15" baseline="0" dirty="0">
                <a:solidFill>
                  <a:srgbClr val="3A4D98"/>
                </a:solidFill>
                <a:latin typeface="Myriad Pro"/>
                <a:ea typeface="Myriad Pro"/>
                <a:cs typeface="Myriad Pro"/>
              </a:rPr>
              <a:t>CARGO GROUP</a:t>
            </a:r>
            <a:endParaRPr sz="1200" dirty="0">
              <a:solidFill>
                <a:srgbClr val="454545"/>
              </a:solidFill>
              <a:latin typeface="Myriad Pro"/>
              <a:cs typeface="Myriad Pro"/>
            </a:endParaRPr>
          </a:p>
          <a:p>
            <a:pPr marL="12700" algn="l" rtl="0">
              <a:lnSpc>
                <a:spcPct val="100000"/>
              </a:lnSpc>
              <a:spcBef>
                <a:spcPts val="90"/>
              </a:spcBef>
            </a:pPr>
            <a:r>
              <a:rPr lang="en" sz="1200" b="0" i="0" u="none" spc="-25" baseline="0" dirty="0">
                <a:solidFill>
                  <a:srgbClr val="454545"/>
                </a:solidFill>
                <a:latin typeface="Arial"/>
                <a:ea typeface="Arial"/>
                <a:cs typeface="Arial"/>
              </a:rPr>
              <a:t>PLN / thous</a:t>
            </a:r>
            <a:r>
              <a:rPr lang="pl-PL" sz="1200" b="0" i="0" u="none" spc="-25" baseline="0" dirty="0">
                <a:solidFill>
                  <a:srgbClr val="454545"/>
                </a:solidFill>
                <a:latin typeface="Arial"/>
                <a:ea typeface="Arial"/>
                <a:cs typeface="Arial"/>
              </a:rPr>
              <a:t>.</a:t>
            </a:r>
            <a:r>
              <a:rPr lang="en" sz="1200" b="0" i="0" u="none" spc="-25" baseline="0" dirty="0">
                <a:solidFill>
                  <a:srgbClr val="454545"/>
                </a:solidFill>
                <a:latin typeface="Arial"/>
                <a:ea typeface="Arial"/>
                <a:cs typeface="Arial"/>
              </a:rPr>
              <a:t> tkm</a:t>
            </a:r>
            <a:endParaRPr sz="1200" dirty="0">
              <a:solidFill>
                <a:srgbClr val="454545"/>
              </a:solidFill>
              <a:latin typeface="Arial"/>
              <a:cs typeface="Arial"/>
            </a:endParaRPr>
          </a:p>
        </p:txBody>
      </p:sp>
      <p:sp>
        <p:nvSpPr>
          <p:cNvPr id="90" name="object 42"/>
          <p:cNvSpPr txBox="1"/>
          <p:nvPr/>
        </p:nvSpPr>
        <p:spPr>
          <a:xfrm>
            <a:off x="2640013" y="2307189"/>
            <a:ext cx="1214438" cy="322263"/>
          </a:xfrm>
          <a:prstGeom prst="rect">
            <a:avLst/>
          </a:prstGeom>
        </p:spPr>
        <p:txBody>
          <a:bodyPr vert="horz" wrap="square" lIns="0" tIns="13970" rIns="0" bIns="0" rtlCol="0" anchor="b">
            <a:spAutoFit/>
          </a:bodyPr>
          <a:lstStyle/>
          <a:p>
            <a:pPr marL="12700" algn="r" rtl="0">
              <a:lnSpc>
                <a:spcPct val="100000"/>
              </a:lnSpc>
              <a:spcBef>
                <a:spcPts val="110"/>
              </a:spcBef>
            </a:pPr>
            <a:r>
              <a:rPr lang="en" sz="2000" b="0" i="0" u="none" spc="-40" baseline="0">
                <a:solidFill>
                  <a:srgbClr val="004F9F"/>
                </a:solidFill>
                <a:latin typeface="Arial Black"/>
                <a:ea typeface="Arial Black"/>
                <a:cs typeface="Arial Black"/>
              </a:rPr>
              <a:t>-3.3%</a:t>
            </a:r>
            <a:endParaRPr lang="en" sz="950" dirty="0">
              <a:latin typeface="Arial Black"/>
              <a:cs typeface="Arial Black"/>
            </a:endParaRPr>
          </a:p>
        </p:txBody>
      </p:sp>
      <p:sp>
        <p:nvSpPr>
          <p:cNvPr id="125" name="object 42"/>
          <p:cNvSpPr txBox="1"/>
          <p:nvPr/>
        </p:nvSpPr>
        <p:spPr>
          <a:xfrm>
            <a:off x="6002369" y="2312097"/>
            <a:ext cx="1216025" cy="322263"/>
          </a:xfrm>
          <a:prstGeom prst="rect">
            <a:avLst/>
          </a:prstGeom>
        </p:spPr>
        <p:txBody>
          <a:bodyPr vert="horz" wrap="square" lIns="0" tIns="13970" rIns="0" bIns="0" rtlCol="0" anchor="b">
            <a:spAutoFit/>
          </a:bodyPr>
          <a:lstStyle/>
          <a:p>
            <a:pPr marL="12700" algn="r" rtl="0">
              <a:lnSpc>
                <a:spcPct val="100000"/>
              </a:lnSpc>
              <a:spcBef>
                <a:spcPts val="110"/>
              </a:spcBef>
            </a:pPr>
            <a:r>
              <a:rPr lang="en" sz="2000" b="0" i="0" u="none" spc="-40" baseline="0">
                <a:solidFill>
                  <a:srgbClr val="004F9F"/>
                </a:solidFill>
                <a:latin typeface="Arial Black"/>
                <a:ea typeface="Arial Black"/>
                <a:cs typeface="Arial Black"/>
              </a:rPr>
              <a:t>-5.2%</a:t>
            </a:r>
            <a:endParaRPr lang="en" sz="950" dirty="0">
              <a:latin typeface="Arial Black"/>
              <a:cs typeface="Arial Black"/>
            </a:endParaRPr>
          </a:p>
        </p:txBody>
      </p:sp>
      <p:sp>
        <p:nvSpPr>
          <p:cNvPr id="124" name="object 40"/>
          <p:cNvSpPr/>
          <p:nvPr/>
        </p:nvSpPr>
        <p:spPr>
          <a:xfrm rot="10800000">
            <a:off x="6613376" y="2632589"/>
            <a:ext cx="284163" cy="209550"/>
          </a:xfrm>
          <a:custGeom>
            <a:avLst/>
            <a:gdLst/>
            <a:ahLst/>
            <a:cxnLst/>
            <a:rect l="l" t="t" r="r" b="b"/>
            <a:pathLst>
              <a:path w="283845" h="208914">
                <a:moveTo>
                  <a:pt x="141909" y="0"/>
                </a:moveTo>
                <a:lnTo>
                  <a:pt x="0" y="208775"/>
                </a:lnTo>
                <a:lnTo>
                  <a:pt x="283819" y="208775"/>
                </a:lnTo>
                <a:lnTo>
                  <a:pt x="141909" y="0"/>
                </a:lnTo>
                <a:close/>
              </a:path>
            </a:pathLst>
          </a:custGeom>
          <a:solidFill>
            <a:srgbClr val="004F9F"/>
          </a:solidFill>
        </p:spPr>
        <p:txBody>
          <a:bodyPr wrap="square" lIns="0" tIns="0" rIns="0" bIns="0" rtlCol="0"/>
          <a:lstStyle/>
          <a:p>
            <a:endParaRPr lang="en" dirty="0"/>
          </a:p>
        </p:txBody>
      </p:sp>
      <p:sp>
        <p:nvSpPr>
          <p:cNvPr id="89" name="object 40"/>
          <p:cNvSpPr/>
          <p:nvPr/>
        </p:nvSpPr>
        <p:spPr>
          <a:xfrm rot="10800000">
            <a:off x="3314700" y="2636044"/>
            <a:ext cx="284163" cy="209550"/>
          </a:xfrm>
          <a:custGeom>
            <a:avLst/>
            <a:gdLst/>
            <a:ahLst/>
            <a:cxnLst/>
            <a:rect l="l" t="t" r="r" b="b"/>
            <a:pathLst>
              <a:path w="283845" h="208914">
                <a:moveTo>
                  <a:pt x="141909" y="0"/>
                </a:moveTo>
                <a:lnTo>
                  <a:pt x="0" y="208775"/>
                </a:lnTo>
                <a:lnTo>
                  <a:pt x="283819" y="208775"/>
                </a:lnTo>
                <a:lnTo>
                  <a:pt x="141909" y="0"/>
                </a:lnTo>
                <a:close/>
              </a:path>
            </a:pathLst>
          </a:custGeom>
          <a:solidFill>
            <a:srgbClr val="004F9F"/>
          </a:solidFill>
        </p:spPr>
        <p:txBody>
          <a:bodyPr wrap="square" lIns="0" tIns="0" rIns="0" bIns="0" rtlCol="0"/>
          <a:lstStyle/>
          <a:p>
            <a:endParaRPr lang="en" dirty="0"/>
          </a:p>
        </p:txBody>
      </p:sp>
      <p:sp>
        <p:nvSpPr>
          <p:cNvPr id="145" name="object 18"/>
          <p:cNvSpPr/>
          <p:nvPr/>
        </p:nvSpPr>
        <p:spPr>
          <a:xfrm>
            <a:off x="7740650" y="2960688"/>
            <a:ext cx="107950" cy="431800"/>
          </a:xfrm>
          <a:custGeom>
            <a:avLst/>
            <a:gdLst/>
            <a:ahLst/>
            <a:cxnLst/>
            <a:rect l="l" t="t" r="r" b="b"/>
            <a:pathLst>
              <a:path w="113664" h="474345">
                <a:moveTo>
                  <a:pt x="0" y="473875"/>
                </a:moveTo>
                <a:lnTo>
                  <a:pt x="113042" y="473875"/>
                </a:lnTo>
                <a:lnTo>
                  <a:pt x="113042" y="0"/>
                </a:lnTo>
                <a:lnTo>
                  <a:pt x="0" y="0"/>
                </a:lnTo>
                <a:lnTo>
                  <a:pt x="0" y="473875"/>
                </a:lnTo>
                <a:close/>
              </a:path>
            </a:pathLst>
          </a:custGeom>
          <a:solidFill>
            <a:srgbClr val="F2F2F2"/>
          </a:solidFill>
          <a:ln w="31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lang="en" dirty="0">
              <a:solidFill>
                <a:schemeClr val="tx2"/>
              </a:solidFill>
            </a:endParaRPr>
          </a:p>
        </p:txBody>
      </p:sp>
      <p:sp>
        <p:nvSpPr>
          <p:cNvPr id="78" name="object 20"/>
          <p:cNvSpPr txBox="1"/>
          <p:nvPr/>
        </p:nvSpPr>
        <p:spPr>
          <a:xfrm>
            <a:off x="8021638" y="2992438"/>
            <a:ext cx="1135063" cy="35242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l" rtl="0">
              <a:lnSpc>
                <a:spcPct val="100000"/>
              </a:lnSpc>
              <a:spcBef>
                <a:spcPts val="100"/>
              </a:spcBef>
            </a:pPr>
            <a:r>
              <a:rPr lang="en" sz="1100" b="0" i="0" u="none" baseline="0">
                <a:solidFill>
                  <a:srgbClr val="3A4D98"/>
                </a:solidFill>
                <a:latin typeface="Myriad Pro" panose="020B0503030403020204" pitchFamily="34" charset="0"/>
                <a:cs typeface="Arial Black"/>
              </a:rPr>
              <a:t>Employee benefits</a:t>
            </a:r>
          </a:p>
        </p:txBody>
      </p:sp>
      <p:sp>
        <p:nvSpPr>
          <p:cNvPr id="111" name="Textplatzhalter 2"/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6026150" y="3124200"/>
            <a:ext cx="3492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ct val="30000"/>
              </a:spcAft>
              <a:tabLst/>
              <a:defRPr sz="1800">
                <a:solidFill>
                  <a:srgbClr val="444448"/>
                </a:solidFill>
                <a:latin typeface="+mn-lt"/>
                <a:ea typeface="+mn-ea"/>
                <a:cs typeface="+mn-cs"/>
              </a:defRPr>
            </a:lvl1pPr>
            <a:lvl2pPr marL="1588" indent="0" algn="l" rtl="0" eaLnBrk="1" fontAlgn="base" hangingPunct="1">
              <a:spcBef>
                <a:spcPct val="0"/>
              </a:spcBef>
              <a:spcAft>
                <a:spcPct val="30000"/>
              </a:spcAft>
              <a:buFont typeface="Wingdings" pitchFamily="2" charset="2"/>
              <a:tabLst/>
              <a:defRPr sz="1800">
                <a:solidFill>
                  <a:schemeClr val="tx1"/>
                </a:solidFill>
                <a:latin typeface="+mn-lt"/>
              </a:defRPr>
            </a:lvl2pPr>
            <a:lvl3pPr marL="182563" indent="-179388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rgbClr val="DD000C"/>
              </a:buClr>
              <a:buSzPct val="100000"/>
              <a:buFont typeface="Wingdings" pitchFamily="2" charset="2"/>
              <a:buChar char="§"/>
              <a:tabLst/>
              <a:defRPr sz="1800" b="0">
                <a:solidFill>
                  <a:schemeClr val="tx1"/>
                </a:solidFill>
                <a:latin typeface="+mn-lt"/>
              </a:defRPr>
            </a:lvl3pPr>
            <a:lvl4pPr marL="350838" marR="0" indent="-176213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30000"/>
              </a:spcAft>
              <a:buClr>
                <a:schemeClr val="tx1"/>
              </a:buClr>
              <a:buSzPct val="100000"/>
              <a:buFont typeface="Symbol" pitchFamily="18" charset="2"/>
              <a:buChar char="-"/>
              <a:tabLst>
                <a:tab pos="195263" algn="l"/>
              </a:tabLst>
              <a:defRPr sz="1600" b="0" baseline="0">
                <a:solidFill>
                  <a:schemeClr val="tx1"/>
                </a:solidFill>
                <a:latin typeface="+mn-lt"/>
              </a:defRPr>
            </a:lvl4pPr>
            <a:lvl5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SzTx/>
              <a:buFontTx/>
              <a:buNone/>
              <a:tabLst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98425" indent="-76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1"/>
              </a:buClr>
              <a:buFont typeface="Arial" pitchFamily="34" charset="0"/>
              <a:buChar char="›"/>
              <a:tabLst>
                <a:tab pos="98425" algn="l"/>
              </a:tabLst>
              <a:defRPr sz="1200" b="1" baseline="0">
                <a:solidFill>
                  <a:srgbClr val="444448"/>
                </a:solidFill>
                <a:latin typeface="+mn-lt"/>
              </a:defRPr>
            </a:lvl6pPr>
            <a:lvl7pPr marL="0" indent="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1"/>
              </a:buClr>
              <a:buNone/>
              <a:tabLst/>
              <a:defRPr sz="1200">
                <a:solidFill>
                  <a:schemeClr val="tx1"/>
                </a:solidFill>
                <a:latin typeface="+mn-lt"/>
              </a:defRPr>
            </a:lvl7pPr>
            <a:lvl8pPr marL="190500" indent="-1905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rgbClr val="DD000C"/>
              </a:buClr>
              <a:buSzPct val="120000"/>
              <a:buFont typeface="Wingdings" pitchFamily="2" charset="2"/>
              <a:buChar char="§"/>
              <a:tabLst>
                <a:tab pos="168275" algn="l"/>
              </a:tabLst>
              <a:defRPr sz="1200" baseline="0">
                <a:solidFill>
                  <a:schemeClr val="tx1"/>
                </a:solidFill>
                <a:latin typeface="+mn-lt"/>
              </a:defRPr>
            </a:lvl8pPr>
            <a:lvl9pPr marL="0" indent="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SzPct val="120000"/>
              <a:buFont typeface="Symbol" pitchFamily="18" charset="2"/>
              <a:buNone/>
              <a:tabLst/>
              <a:defRPr sz="800">
                <a:solidFill>
                  <a:schemeClr val="tx1"/>
                </a:solidFill>
                <a:latin typeface="+mn-lt"/>
              </a:defRPr>
            </a:lvl9pPr>
          </a:lstStyle>
          <a:p>
            <a:pPr marL="0" lvl="1" algn="ctr" rtl="0">
              <a:spcAft>
                <a:spcPct val="0"/>
              </a:spcAft>
              <a:buClr>
                <a:srgbClr val="033086"/>
              </a:buClr>
            </a:pPr>
            <a:fld id="{D87352AB-CC67-49EC-A6F6-F1CBA36544AF}" type="datetime'185'">
              <a:rPr sz="1200" b="1">
                <a:solidFill>
                  <a:srgbClr val="414141"/>
                </a:solidFill>
                <a:latin typeface="Arial Black" panose="020B0A04020102020204" pitchFamily="34" charset="0"/>
              </a:rPr>
              <a:pPr/>
              <a:t>185</a:t>
            </a:fld>
            <a:endParaRPr lang="en" sz="1200" b="1" dirty="0">
              <a:solidFill>
                <a:srgbClr val="414141"/>
              </a:solidFill>
              <a:latin typeface="Arial Black" panose="020B0A04020102020204" pitchFamily="34" charset="0"/>
              <a:sym typeface="Arial Black" panose="020B0A04020102020204" pitchFamily="34" charset="0"/>
            </a:endParaRPr>
          </a:p>
        </p:txBody>
      </p:sp>
      <p:graphicFrame>
        <p:nvGraphicFramePr>
          <p:cNvPr id="128" name="Chart 3"/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538904530"/>
              </p:ext>
            </p:extLst>
          </p:nvPr>
        </p:nvGraphicFramePr>
        <p:xfrm>
          <a:off x="2278063" y="3214688"/>
          <a:ext cx="2262187" cy="2857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graphicFrame>
        <p:nvGraphicFramePr>
          <p:cNvPr id="129" name="Chart 3"/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197895388"/>
              </p:ext>
            </p:extLst>
          </p:nvPr>
        </p:nvGraphicFramePr>
        <p:xfrm>
          <a:off x="5632450" y="3249613"/>
          <a:ext cx="3082925" cy="28225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1"/>
          </a:graphicData>
        </a:graphic>
      </p:graphicFrame>
      <p:sp>
        <p:nvSpPr>
          <p:cNvPr id="107" name="Textplatzhalter 2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6999288" y="3263900"/>
            <a:ext cx="3492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ct val="30000"/>
              </a:spcAft>
              <a:tabLst/>
              <a:defRPr sz="1800">
                <a:solidFill>
                  <a:srgbClr val="444448"/>
                </a:solidFill>
                <a:latin typeface="+mn-lt"/>
                <a:ea typeface="+mn-ea"/>
                <a:cs typeface="+mn-cs"/>
              </a:defRPr>
            </a:lvl1pPr>
            <a:lvl2pPr marL="1588" indent="0" algn="l" rtl="0" eaLnBrk="1" fontAlgn="base" hangingPunct="1">
              <a:spcBef>
                <a:spcPct val="0"/>
              </a:spcBef>
              <a:spcAft>
                <a:spcPct val="30000"/>
              </a:spcAft>
              <a:buFont typeface="Wingdings" pitchFamily="2" charset="2"/>
              <a:tabLst/>
              <a:defRPr sz="1800">
                <a:solidFill>
                  <a:schemeClr val="tx1"/>
                </a:solidFill>
                <a:latin typeface="+mn-lt"/>
              </a:defRPr>
            </a:lvl2pPr>
            <a:lvl3pPr marL="182563" indent="-179388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rgbClr val="DD000C"/>
              </a:buClr>
              <a:buSzPct val="100000"/>
              <a:buFont typeface="Wingdings" pitchFamily="2" charset="2"/>
              <a:buChar char="§"/>
              <a:tabLst/>
              <a:defRPr sz="1800" b="0">
                <a:solidFill>
                  <a:schemeClr val="tx1"/>
                </a:solidFill>
                <a:latin typeface="+mn-lt"/>
              </a:defRPr>
            </a:lvl3pPr>
            <a:lvl4pPr marL="350838" marR="0" indent="-176213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30000"/>
              </a:spcAft>
              <a:buClr>
                <a:schemeClr val="tx1"/>
              </a:buClr>
              <a:buSzPct val="100000"/>
              <a:buFont typeface="Symbol" pitchFamily="18" charset="2"/>
              <a:buChar char="-"/>
              <a:tabLst>
                <a:tab pos="195263" algn="l"/>
              </a:tabLst>
              <a:defRPr sz="1600" b="0" baseline="0">
                <a:solidFill>
                  <a:schemeClr val="tx1"/>
                </a:solidFill>
                <a:latin typeface="+mn-lt"/>
              </a:defRPr>
            </a:lvl4pPr>
            <a:lvl5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SzTx/>
              <a:buFontTx/>
              <a:buNone/>
              <a:tabLst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98425" indent="-76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1"/>
              </a:buClr>
              <a:buFont typeface="Arial" pitchFamily="34" charset="0"/>
              <a:buChar char="›"/>
              <a:tabLst>
                <a:tab pos="98425" algn="l"/>
              </a:tabLst>
              <a:defRPr sz="1200" b="1" baseline="0">
                <a:solidFill>
                  <a:srgbClr val="444448"/>
                </a:solidFill>
                <a:latin typeface="+mn-lt"/>
              </a:defRPr>
            </a:lvl6pPr>
            <a:lvl7pPr marL="0" indent="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1"/>
              </a:buClr>
              <a:buNone/>
              <a:tabLst/>
              <a:defRPr sz="1200">
                <a:solidFill>
                  <a:schemeClr val="tx1"/>
                </a:solidFill>
                <a:latin typeface="+mn-lt"/>
              </a:defRPr>
            </a:lvl7pPr>
            <a:lvl8pPr marL="190500" indent="-1905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rgbClr val="DD000C"/>
              </a:buClr>
              <a:buSzPct val="120000"/>
              <a:buFont typeface="Wingdings" pitchFamily="2" charset="2"/>
              <a:buChar char="§"/>
              <a:tabLst>
                <a:tab pos="168275" algn="l"/>
              </a:tabLst>
              <a:defRPr sz="1200" baseline="0">
                <a:solidFill>
                  <a:schemeClr val="tx1"/>
                </a:solidFill>
                <a:latin typeface="+mn-lt"/>
              </a:defRPr>
            </a:lvl8pPr>
            <a:lvl9pPr marL="0" indent="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SzPct val="120000"/>
              <a:buFont typeface="Symbol" pitchFamily="18" charset="2"/>
              <a:buNone/>
              <a:tabLst/>
              <a:defRPr sz="800">
                <a:solidFill>
                  <a:schemeClr val="tx1"/>
                </a:solidFill>
                <a:latin typeface="+mn-lt"/>
              </a:defRPr>
            </a:lvl9pPr>
          </a:lstStyle>
          <a:p>
            <a:pPr marL="0" lvl="1" algn="ctr" rtl="0">
              <a:spcAft>
                <a:spcPct val="0"/>
              </a:spcAft>
              <a:buClr>
                <a:srgbClr val="033086"/>
              </a:buClr>
            </a:pPr>
            <a:fld id="{8CFF35FD-7EE8-493C-8FDF-BB9CC1D750CB}" type="datetime'176'">
              <a:rPr sz="1200" b="1">
                <a:solidFill>
                  <a:srgbClr val="414141"/>
                </a:solidFill>
                <a:latin typeface="Arial Black" panose="020B0A04020102020204" pitchFamily="34" charset="0"/>
              </a:rPr>
              <a:pPr/>
              <a:t>176</a:t>
            </a:fld>
            <a:endParaRPr lang="en" sz="1200" b="1" dirty="0">
              <a:solidFill>
                <a:srgbClr val="414141"/>
              </a:solidFill>
              <a:latin typeface="Arial Black" panose="020B0A04020102020204" pitchFamily="34" charset="0"/>
              <a:sym typeface="+mn-lt"/>
            </a:endParaRPr>
          </a:p>
        </p:txBody>
      </p:sp>
      <p:sp>
        <p:nvSpPr>
          <p:cNvPr id="68" name="Textplatzhalter 2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2840038" y="3279775"/>
            <a:ext cx="3492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ct val="30000"/>
              </a:spcAft>
              <a:tabLst/>
              <a:defRPr sz="1800">
                <a:solidFill>
                  <a:srgbClr val="444448"/>
                </a:solidFill>
                <a:latin typeface="+mn-lt"/>
                <a:ea typeface="+mn-ea"/>
                <a:cs typeface="+mn-cs"/>
              </a:defRPr>
            </a:lvl1pPr>
            <a:lvl2pPr marL="1588" indent="0" algn="l" rtl="0" eaLnBrk="1" fontAlgn="base" hangingPunct="1">
              <a:spcBef>
                <a:spcPct val="0"/>
              </a:spcBef>
              <a:spcAft>
                <a:spcPct val="30000"/>
              </a:spcAft>
              <a:buFont typeface="Wingdings" pitchFamily="2" charset="2"/>
              <a:tabLst/>
              <a:defRPr sz="1800">
                <a:solidFill>
                  <a:schemeClr val="tx1"/>
                </a:solidFill>
                <a:latin typeface="+mn-lt"/>
              </a:defRPr>
            </a:lvl2pPr>
            <a:lvl3pPr marL="182563" indent="-179388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rgbClr val="DD000C"/>
              </a:buClr>
              <a:buSzPct val="100000"/>
              <a:buFont typeface="Wingdings" pitchFamily="2" charset="2"/>
              <a:buChar char="§"/>
              <a:tabLst/>
              <a:defRPr sz="1800" b="0">
                <a:solidFill>
                  <a:schemeClr val="tx1"/>
                </a:solidFill>
                <a:latin typeface="+mn-lt"/>
              </a:defRPr>
            </a:lvl3pPr>
            <a:lvl4pPr marL="350838" marR="0" indent="-176213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30000"/>
              </a:spcAft>
              <a:buClr>
                <a:schemeClr val="tx1"/>
              </a:buClr>
              <a:buSzPct val="100000"/>
              <a:buFont typeface="Symbol" pitchFamily="18" charset="2"/>
              <a:buChar char="-"/>
              <a:tabLst>
                <a:tab pos="195263" algn="l"/>
              </a:tabLst>
              <a:defRPr sz="1600" b="0" baseline="0">
                <a:solidFill>
                  <a:schemeClr val="tx1"/>
                </a:solidFill>
                <a:latin typeface="+mn-lt"/>
              </a:defRPr>
            </a:lvl4pPr>
            <a:lvl5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SzTx/>
              <a:buFontTx/>
              <a:buNone/>
              <a:tabLst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98425" indent="-76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1"/>
              </a:buClr>
              <a:buFont typeface="Arial" pitchFamily="34" charset="0"/>
              <a:buChar char="›"/>
              <a:tabLst>
                <a:tab pos="98425" algn="l"/>
              </a:tabLst>
              <a:defRPr sz="1200" b="1" baseline="0">
                <a:solidFill>
                  <a:srgbClr val="444448"/>
                </a:solidFill>
                <a:latin typeface="+mn-lt"/>
              </a:defRPr>
            </a:lvl6pPr>
            <a:lvl7pPr marL="0" indent="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1"/>
              </a:buClr>
              <a:buNone/>
              <a:tabLst/>
              <a:defRPr sz="1200">
                <a:solidFill>
                  <a:schemeClr val="tx1"/>
                </a:solidFill>
                <a:latin typeface="+mn-lt"/>
              </a:defRPr>
            </a:lvl7pPr>
            <a:lvl8pPr marL="190500" indent="-1905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rgbClr val="DD000C"/>
              </a:buClr>
              <a:buSzPct val="120000"/>
              <a:buFont typeface="Wingdings" pitchFamily="2" charset="2"/>
              <a:buChar char="§"/>
              <a:tabLst>
                <a:tab pos="168275" algn="l"/>
              </a:tabLst>
              <a:defRPr sz="1200" baseline="0">
                <a:solidFill>
                  <a:schemeClr val="tx1"/>
                </a:solidFill>
                <a:latin typeface="+mn-lt"/>
              </a:defRPr>
            </a:lvl8pPr>
            <a:lvl9pPr marL="0" indent="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SzPct val="120000"/>
              <a:buFont typeface="Symbol" pitchFamily="18" charset="2"/>
              <a:buNone/>
              <a:tabLst/>
              <a:defRPr sz="800">
                <a:solidFill>
                  <a:schemeClr val="tx1"/>
                </a:solidFill>
                <a:latin typeface="+mn-lt"/>
              </a:defRPr>
            </a:lvl9pPr>
          </a:lstStyle>
          <a:p>
            <a:pPr marL="0" lvl="1" algn="ctr" rtl="0">
              <a:spcAft>
                <a:spcPct val="0"/>
              </a:spcAft>
              <a:buClr>
                <a:srgbClr val="033086"/>
              </a:buClr>
            </a:pPr>
            <a:fld id="{5DF40E0F-0AFE-4FDB-8D54-2787B3AD12B1}" type="datetime'172'">
              <a:rPr sz="1200" b="1">
                <a:solidFill>
                  <a:srgbClr val="414141"/>
                </a:solidFill>
                <a:latin typeface="Arial Black" panose="020B0A04020102020204" pitchFamily="34" charset="0"/>
              </a:rPr>
              <a:pPr/>
              <a:t>172</a:t>
            </a:fld>
            <a:endParaRPr lang="en" sz="1200" b="1" dirty="0">
              <a:solidFill>
                <a:srgbClr val="414141"/>
              </a:solidFill>
              <a:latin typeface="Arial Black" panose="020B0A040201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63" name="Textplatzhalter 2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3627438" y="3360738"/>
            <a:ext cx="3492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0" indent="0" algn="l" rtl="0" eaLnBrk="1" fontAlgn="base" hangingPunct="1">
              <a:spcBef>
                <a:spcPct val="0"/>
              </a:spcBef>
              <a:spcAft>
                <a:spcPct val="30000"/>
              </a:spcAft>
              <a:tabLst/>
              <a:defRPr sz="1800">
                <a:solidFill>
                  <a:srgbClr val="444448"/>
                </a:solidFill>
                <a:latin typeface="+mn-lt"/>
                <a:ea typeface="+mn-ea"/>
                <a:cs typeface="+mn-cs"/>
              </a:defRPr>
            </a:lvl1pPr>
            <a:lvl2pPr marL="1588" indent="0" algn="l" rtl="0" eaLnBrk="1" fontAlgn="base" hangingPunct="1">
              <a:spcBef>
                <a:spcPct val="0"/>
              </a:spcBef>
              <a:spcAft>
                <a:spcPct val="30000"/>
              </a:spcAft>
              <a:buFont typeface="Wingdings" pitchFamily="2" charset="2"/>
              <a:tabLst/>
              <a:defRPr sz="1800">
                <a:solidFill>
                  <a:schemeClr val="tx1"/>
                </a:solidFill>
                <a:latin typeface="+mn-lt"/>
              </a:defRPr>
            </a:lvl2pPr>
            <a:lvl3pPr marL="182563" indent="-179388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rgbClr val="DD000C"/>
              </a:buClr>
              <a:buSzPct val="100000"/>
              <a:buFont typeface="Wingdings" pitchFamily="2" charset="2"/>
              <a:buChar char="§"/>
              <a:tabLst/>
              <a:defRPr sz="1800" b="0">
                <a:solidFill>
                  <a:schemeClr val="tx1"/>
                </a:solidFill>
                <a:latin typeface="+mn-lt"/>
              </a:defRPr>
            </a:lvl3pPr>
            <a:lvl4pPr marL="350838" marR="0" indent="-176213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30000"/>
              </a:spcAft>
              <a:buClr>
                <a:schemeClr val="tx1"/>
              </a:buClr>
              <a:buSzPct val="100000"/>
              <a:buFont typeface="Symbol" pitchFamily="18" charset="2"/>
              <a:buChar char="-"/>
              <a:tabLst>
                <a:tab pos="195263" algn="l"/>
              </a:tabLst>
              <a:defRPr sz="1600" b="0" baseline="0">
                <a:solidFill>
                  <a:schemeClr val="tx1"/>
                </a:solidFill>
                <a:latin typeface="+mn-lt"/>
              </a:defRPr>
            </a:lvl4pPr>
            <a:lvl5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SzTx/>
              <a:buFontTx/>
              <a:buNone/>
              <a:tabLst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98425" indent="-76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1"/>
              </a:buClr>
              <a:buFont typeface="Arial" pitchFamily="34" charset="0"/>
              <a:buChar char="›"/>
              <a:tabLst>
                <a:tab pos="98425" algn="l"/>
              </a:tabLst>
              <a:defRPr sz="1200" b="1" baseline="0">
                <a:solidFill>
                  <a:srgbClr val="444448"/>
                </a:solidFill>
                <a:latin typeface="+mn-lt"/>
              </a:defRPr>
            </a:lvl6pPr>
            <a:lvl7pPr marL="0" indent="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1"/>
              </a:buClr>
              <a:buNone/>
              <a:tabLst/>
              <a:defRPr sz="1200">
                <a:solidFill>
                  <a:schemeClr val="tx1"/>
                </a:solidFill>
                <a:latin typeface="+mn-lt"/>
              </a:defRPr>
            </a:lvl7pPr>
            <a:lvl8pPr marL="190500" indent="-1905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rgbClr val="DD000C"/>
              </a:buClr>
              <a:buSzPct val="120000"/>
              <a:buFont typeface="Wingdings" pitchFamily="2" charset="2"/>
              <a:buChar char="§"/>
              <a:tabLst>
                <a:tab pos="168275" algn="l"/>
              </a:tabLst>
              <a:defRPr sz="1200" baseline="0">
                <a:solidFill>
                  <a:schemeClr val="tx1"/>
                </a:solidFill>
                <a:latin typeface="+mn-lt"/>
              </a:defRPr>
            </a:lvl8pPr>
            <a:lvl9pPr marL="0" indent="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tx2"/>
              </a:buClr>
              <a:buSzPct val="120000"/>
              <a:buFont typeface="Symbol" pitchFamily="18" charset="2"/>
              <a:buNone/>
              <a:tabLst/>
              <a:defRPr sz="800">
                <a:solidFill>
                  <a:schemeClr val="tx1"/>
                </a:solidFill>
                <a:latin typeface="+mn-lt"/>
              </a:defRPr>
            </a:lvl9pPr>
          </a:lstStyle>
          <a:p>
            <a:pPr marL="0" lvl="1" algn="ctr" rtl="0">
              <a:spcAft>
                <a:spcPct val="0"/>
              </a:spcAft>
              <a:buClr>
                <a:srgbClr val="033086"/>
              </a:buClr>
            </a:pPr>
            <a:fld id="{A870B0D5-77A0-4E8B-B3BF-5F1CEEF2AF4A}" type="datetime'167'">
              <a:rPr sz="1200" b="1">
                <a:solidFill>
                  <a:srgbClr val="414141"/>
                </a:solidFill>
                <a:latin typeface="Arial Black" panose="020B0A04020102020204" pitchFamily="34" charset="0"/>
              </a:rPr>
              <a:pPr/>
              <a:t>167</a:t>
            </a:fld>
            <a:endParaRPr lang="en" sz="1200" b="1" dirty="0">
              <a:solidFill>
                <a:srgbClr val="414141"/>
              </a:solidFill>
              <a:latin typeface="Arial Black" panose="020B0A040201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148" name="object 18"/>
          <p:cNvSpPr/>
          <p:nvPr/>
        </p:nvSpPr>
        <p:spPr>
          <a:xfrm>
            <a:off x="7740650" y="3476625"/>
            <a:ext cx="107950" cy="433388"/>
          </a:xfrm>
          <a:custGeom>
            <a:avLst/>
            <a:gdLst/>
            <a:ahLst/>
            <a:cxnLst/>
            <a:rect l="l" t="t" r="r" b="b"/>
            <a:pathLst>
              <a:path w="113664" h="474345">
                <a:moveTo>
                  <a:pt x="0" y="473875"/>
                </a:moveTo>
                <a:lnTo>
                  <a:pt x="113042" y="473875"/>
                </a:lnTo>
                <a:lnTo>
                  <a:pt x="113042" y="0"/>
                </a:lnTo>
                <a:lnTo>
                  <a:pt x="0" y="0"/>
                </a:lnTo>
                <a:lnTo>
                  <a:pt x="0" y="473875"/>
                </a:lnTo>
                <a:close/>
              </a:path>
            </a:pathLst>
          </a:custGeom>
          <a:solidFill>
            <a:srgbClr val="CAC9C9"/>
          </a:solidFill>
          <a:ln w="31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lang="en" dirty="0">
              <a:solidFill>
                <a:schemeClr val="tx2"/>
              </a:solidFill>
            </a:endParaRPr>
          </a:p>
        </p:txBody>
      </p:sp>
      <p:sp>
        <p:nvSpPr>
          <p:cNvPr id="79" name="object 21"/>
          <p:cNvSpPr txBox="1"/>
          <p:nvPr/>
        </p:nvSpPr>
        <p:spPr>
          <a:xfrm>
            <a:off x="8002588" y="3495675"/>
            <a:ext cx="1746250" cy="35083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l" rtl="0">
              <a:lnSpc>
                <a:spcPct val="100000"/>
              </a:lnSpc>
              <a:spcBef>
                <a:spcPts val="100"/>
              </a:spcBef>
            </a:pPr>
            <a:r>
              <a:rPr lang="en" sz="1100" b="0" i="0" u="none" baseline="0">
                <a:solidFill>
                  <a:srgbClr val="3A4D98"/>
                </a:solidFill>
                <a:latin typeface="Myriad Pro" panose="020B0503030403020204" pitchFamily="34" charset="0"/>
                <a:cs typeface="Arial Black"/>
              </a:rPr>
              <a:t>Energy and </a:t>
            </a:r>
            <a:r>
              <a:rPr lang="en" sz="1100">
                <a:solidFill>
                  <a:srgbClr val="3A4D98"/>
                </a:solidFill>
                <a:latin typeface="Myriad Pro" panose="020B0503030403020204" pitchFamily="34" charset="0"/>
                <a:cs typeface="Arial Black"/>
              </a:rPr>
              <a:t/>
            </a:r>
            <a:br>
              <a:rPr lang="en" sz="1100">
                <a:solidFill>
                  <a:srgbClr val="3A4D98"/>
                </a:solidFill>
                <a:latin typeface="Myriad Pro" panose="020B0503030403020204" pitchFamily="34" charset="0"/>
                <a:cs typeface="Arial Black"/>
              </a:rPr>
            </a:br>
            <a:r>
              <a:rPr lang="en" sz="1100" b="0" i="0" u="none" baseline="0">
                <a:solidFill>
                  <a:srgbClr val="3A4D98"/>
                </a:solidFill>
                <a:latin typeface="Myriad Pro" panose="020B0503030403020204" pitchFamily="34" charset="0"/>
                <a:cs typeface="Arial Black"/>
              </a:rPr>
              <a:t>traction fuel</a:t>
            </a:r>
          </a:p>
        </p:txBody>
      </p:sp>
      <p:sp>
        <p:nvSpPr>
          <p:cNvPr id="146" name="object 19"/>
          <p:cNvSpPr/>
          <p:nvPr/>
        </p:nvSpPr>
        <p:spPr>
          <a:xfrm>
            <a:off x="7742238" y="3994150"/>
            <a:ext cx="107950" cy="431800"/>
          </a:xfrm>
          <a:custGeom>
            <a:avLst/>
            <a:gdLst/>
            <a:ahLst/>
            <a:cxnLst/>
            <a:rect l="l" t="t" r="r" b="b"/>
            <a:pathLst>
              <a:path w="113664" h="483870">
                <a:moveTo>
                  <a:pt x="0" y="483539"/>
                </a:moveTo>
                <a:lnTo>
                  <a:pt x="113042" y="483539"/>
                </a:lnTo>
                <a:lnTo>
                  <a:pt x="113042" y="0"/>
                </a:lnTo>
                <a:lnTo>
                  <a:pt x="0" y="0"/>
                </a:lnTo>
                <a:lnTo>
                  <a:pt x="0" y="483539"/>
                </a:lnTo>
                <a:close/>
              </a:path>
            </a:pathLst>
          </a:custGeom>
          <a:solidFill>
            <a:srgbClr val="BAB9B9"/>
          </a:solidFill>
          <a:ln w="31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lang="en" dirty="0">
              <a:solidFill>
                <a:schemeClr val="tx2"/>
              </a:solidFill>
            </a:endParaRPr>
          </a:p>
        </p:txBody>
      </p:sp>
      <p:sp>
        <p:nvSpPr>
          <p:cNvPr id="144" name="object 18"/>
          <p:cNvSpPr/>
          <p:nvPr/>
        </p:nvSpPr>
        <p:spPr>
          <a:xfrm>
            <a:off x="2187575" y="4027488"/>
            <a:ext cx="107950" cy="431800"/>
          </a:xfrm>
          <a:custGeom>
            <a:avLst/>
            <a:gdLst/>
            <a:ahLst/>
            <a:cxnLst/>
            <a:rect l="l" t="t" r="r" b="b"/>
            <a:pathLst>
              <a:path w="113664" h="474345">
                <a:moveTo>
                  <a:pt x="0" y="473875"/>
                </a:moveTo>
                <a:lnTo>
                  <a:pt x="113042" y="473875"/>
                </a:lnTo>
                <a:lnTo>
                  <a:pt x="113042" y="0"/>
                </a:lnTo>
                <a:lnTo>
                  <a:pt x="0" y="0"/>
                </a:lnTo>
                <a:lnTo>
                  <a:pt x="0" y="473875"/>
                </a:lnTo>
                <a:close/>
              </a:path>
            </a:pathLst>
          </a:custGeom>
          <a:solidFill>
            <a:srgbClr val="004F9F"/>
          </a:solidFill>
          <a:ln w="31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lang="en" dirty="0">
              <a:solidFill>
                <a:schemeClr val="tx2"/>
              </a:solidFill>
            </a:endParaRPr>
          </a:p>
        </p:txBody>
      </p:sp>
      <p:sp>
        <p:nvSpPr>
          <p:cNvPr id="81" name="object 23"/>
          <p:cNvSpPr txBox="1"/>
          <p:nvPr/>
        </p:nvSpPr>
        <p:spPr>
          <a:xfrm>
            <a:off x="8031163" y="4032250"/>
            <a:ext cx="1462088" cy="35083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l" rtl="0">
              <a:lnSpc>
                <a:spcPct val="100000"/>
              </a:lnSpc>
              <a:spcBef>
                <a:spcPts val="100"/>
              </a:spcBef>
            </a:pPr>
            <a:r>
              <a:rPr lang="en" sz="1100" b="0" i="0" u="none" baseline="0" dirty="0">
                <a:solidFill>
                  <a:srgbClr val="3A4D98"/>
                </a:solidFill>
                <a:latin typeface="Myriad Pro" panose="020B0503030403020204" pitchFamily="34" charset="0"/>
                <a:cs typeface="Arial Black"/>
              </a:rPr>
              <a:t>Access</a:t>
            </a:r>
          </a:p>
          <a:p>
            <a:pPr marL="12700" algn="l" rtl="0">
              <a:lnSpc>
                <a:spcPct val="100000"/>
              </a:lnSpc>
            </a:pPr>
            <a:r>
              <a:rPr lang="en" sz="1100" b="0" i="0" u="none" baseline="0" dirty="0">
                <a:solidFill>
                  <a:srgbClr val="3A4D98"/>
                </a:solidFill>
                <a:latin typeface="Myriad Pro" panose="020B0503030403020204" pitchFamily="34" charset="0"/>
                <a:cs typeface="Arial Black"/>
              </a:rPr>
              <a:t>to infrastructure</a:t>
            </a:r>
          </a:p>
        </p:txBody>
      </p:sp>
      <p:sp>
        <p:nvSpPr>
          <p:cNvPr id="82" name="object 24"/>
          <p:cNvSpPr txBox="1"/>
          <p:nvPr/>
        </p:nvSpPr>
        <p:spPr>
          <a:xfrm>
            <a:off x="354013" y="4048125"/>
            <a:ext cx="1693863" cy="35137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09550" marR="5080" indent="-17145" algn="r" rtl="0">
              <a:lnSpc>
                <a:spcPct val="100000"/>
              </a:lnSpc>
              <a:spcBef>
                <a:spcPts val="100"/>
              </a:spcBef>
            </a:pPr>
            <a:r>
              <a:rPr lang="en" sz="1100" b="0" i="0" u="none" baseline="0" dirty="0">
                <a:solidFill>
                  <a:srgbClr val="3A4D98"/>
                </a:solidFill>
                <a:latin typeface="Myriad Pro" panose="020B0503030403020204" pitchFamily="34" charset="0"/>
                <a:cs typeface="Arial Black"/>
              </a:rPr>
              <a:t>Freight and </a:t>
            </a:r>
            <a:r>
              <a:rPr lang="pl-PL" sz="1100" b="0" i="0" u="none" baseline="0" dirty="0">
                <a:solidFill>
                  <a:srgbClr val="3A4D98"/>
                </a:solidFill>
                <a:latin typeface="Myriad Pro" panose="020B0503030403020204" pitchFamily="34" charset="0"/>
                <a:cs typeface="Arial Black"/>
              </a:rPr>
              <a:t/>
            </a:r>
            <a:br>
              <a:rPr lang="pl-PL" sz="1100" b="0" i="0" u="none" baseline="0" dirty="0">
                <a:solidFill>
                  <a:srgbClr val="3A4D98"/>
                </a:solidFill>
                <a:latin typeface="Myriad Pro" panose="020B0503030403020204" pitchFamily="34" charset="0"/>
                <a:cs typeface="Arial Black"/>
              </a:rPr>
            </a:br>
            <a:r>
              <a:rPr lang="en" sz="1100" b="0" i="0" u="none" baseline="0" dirty="0">
                <a:solidFill>
                  <a:srgbClr val="3A4D98"/>
                </a:solidFill>
                <a:latin typeface="Myriad Pro" panose="020B0503030403020204" pitchFamily="34" charset="0"/>
                <a:cs typeface="Arial Black"/>
              </a:rPr>
              <a:t>forwarding revenue</a:t>
            </a:r>
            <a:r>
              <a:rPr lang="pl-PL" sz="1100" b="0" i="0" u="none" baseline="0" dirty="0">
                <a:solidFill>
                  <a:srgbClr val="3A4D98"/>
                </a:solidFill>
                <a:latin typeface="Myriad Pro" panose="020B0503030403020204" pitchFamily="34" charset="0"/>
                <a:cs typeface="Arial Black"/>
              </a:rPr>
              <a:t>s</a:t>
            </a:r>
            <a:r>
              <a:rPr lang="en" sz="1100" b="0" i="0" u="none" baseline="0" dirty="0">
                <a:solidFill>
                  <a:srgbClr val="3A4D98"/>
                </a:solidFill>
                <a:latin typeface="Myriad Pro" panose="020B0503030403020204" pitchFamily="34" charset="0"/>
                <a:cs typeface="Arial Black"/>
              </a:rPr>
              <a:t> </a:t>
            </a:r>
          </a:p>
        </p:txBody>
      </p:sp>
      <p:sp>
        <p:nvSpPr>
          <p:cNvPr id="147" name="object 20"/>
          <p:cNvSpPr/>
          <p:nvPr/>
        </p:nvSpPr>
        <p:spPr>
          <a:xfrm>
            <a:off x="7740650" y="4511675"/>
            <a:ext cx="107950" cy="431800"/>
          </a:xfrm>
          <a:custGeom>
            <a:avLst/>
            <a:gdLst/>
            <a:ahLst/>
            <a:cxnLst/>
            <a:rect l="l" t="t" r="r" b="b"/>
            <a:pathLst>
              <a:path w="113664" h="470535">
                <a:moveTo>
                  <a:pt x="0" y="470268"/>
                </a:moveTo>
                <a:lnTo>
                  <a:pt x="113042" y="470268"/>
                </a:lnTo>
                <a:lnTo>
                  <a:pt x="113042" y="0"/>
                </a:lnTo>
                <a:lnTo>
                  <a:pt x="0" y="0"/>
                </a:lnTo>
                <a:lnTo>
                  <a:pt x="0" y="470268"/>
                </a:lnTo>
                <a:close/>
              </a:path>
            </a:pathLst>
          </a:custGeom>
          <a:solidFill>
            <a:srgbClr val="A0A09F"/>
          </a:solidFill>
          <a:ln w="31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lang="en" dirty="0">
              <a:solidFill>
                <a:schemeClr val="tx2"/>
              </a:solidFill>
            </a:endParaRPr>
          </a:p>
        </p:txBody>
      </p:sp>
      <p:sp>
        <p:nvSpPr>
          <p:cNvPr id="102" name="object 23"/>
          <p:cNvSpPr txBox="1"/>
          <p:nvPr/>
        </p:nvSpPr>
        <p:spPr>
          <a:xfrm>
            <a:off x="8031162" y="4624388"/>
            <a:ext cx="1651001" cy="35137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l" rtl="0">
              <a:lnSpc>
                <a:spcPct val="100000"/>
              </a:lnSpc>
              <a:spcBef>
                <a:spcPts val="100"/>
              </a:spcBef>
            </a:pPr>
            <a:r>
              <a:rPr lang="en" sz="1100" b="0" i="0" u="none" baseline="0" dirty="0">
                <a:solidFill>
                  <a:srgbClr val="3A4D98"/>
                </a:solidFill>
                <a:latin typeface="Myriad Pro" panose="020B0503030403020204" pitchFamily="34" charset="0"/>
                <a:cs typeface="Arial Black"/>
              </a:rPr>
              <a:t>Depreciation</a:t>
            </a:r>
            <a:r>
              <a:rPr lang="pl-PL" sz="1100" b="0" i="0" u="none" baseline="0" dirty="0">
                <a:solidFill>
                  <a:srgbClr val="3A4D98"/>
                </a:solidFill>
                <a:latin typeface="Myriad Pro" panose="020B0503030403020204" pitchFamily="34" charset="0"/>
                <a:cs typeface="Arial Black"/>
              </a:rPr>
              <a:t>, a</a:t>
            </a:r>
            <a:r>
              <a:rPr lang="en" sz="1100" b="0" i="0" u="none" baseline="0" dirty="0">
                <a:solidFill>
                  <a:srgbClr val="3A4D98"/>
                </a:solidFill>
                <a:latin typeface="Myriad Pro" panose="020B0503030403020204" pitchFamily="34" charset="0"/>
                <a:cs typeface="Arial Black"/>
              </a:rPr>
              <a:t>mortization and impairment losses</a:t>
            </a:r>
          </a:p>
        </p:txBody>
      </p:sp>
      <p:sp>
        <p:nvSpPr>
          <p:cNvPr id="84" name="object 26"/>
          <p:cNvSpPr txBox="1"/>
          <p:nvPr/>
        </p:nvSpPr>
        <p:spPr>
          <a:xfrm>
            <a:off x="76201" y="4638675"/>
            <a:ext cx="1971675" cy="35242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09550" marR="5080" indent="-17145" algn="r" rtl="0">
              <a:spcBef>
                <a:spcPts val="100"/>
              </a:spcBef>
            </a:pPr>
            <a:r>
              <a:rPr lang="en" sz="1100">
                <a:solidFill>
                  <a:srgbClr val="3A4D98"/>
                </a:solidFill>
                <a:latin typeface="Myriad Pro" panose="020B0503030403020204" pitchFamily="34" charset="0"/>
                <a:cs typeface="Arial Black"/>
              </a:rPr>
              <a:t/>
            </a:r>
            <a:br>
              <a:rPr lang="en" sz="1100">
                <a:solidFill>
                  <a:srgbClr val="3A4D98"/>
                </a:solidFill>
                <a:latin typeface="Myriad Pro" panose="020B0503030403020204" pitchFamily="34" charset="0"/>
                <a:cs typeface="Arial Black"/>
              </a:rPr>
            </a:br>
            <a:r>
              <a:rPr lang="en" sz="1100" b="0" i="0" u="none" baseline="0">
                <a:solidFill>
                  <a:srgbClr val="3A4D98"/>
                </a:solidFill>
                <a:latin typeface="Myriad Pro" panose="020B0503030403020204" pitchFamily="34" charset="0"/>
                <a:cs typeface="Arial Black"/>
              </a:rPr>
              <a:t>Other revenues from contracts with customers</a:t>
            </a:r>
            <a:r>
              <a:rPr lang="en" sz="1100" b="0" i="0" u="none" baseline="30000">
                <a:solidFill>
                  <a:srgbClr val="3A4D98"/>
                </a:solidFill>
                <a:latin typeface="Myriad Pro" panose="020B0503030403020204" pitchFamily="34" charset="0"/>
                <a:cs typeface="Arial Black"/>
              </a:rPr>
              <a:t>1</a:t>
            </a:r>
          </a:p>
        </p:txBody>
      </p:sp>
      <p:sp>
        <p:nvSpPr>
          <p:cNvPr id="142" name="object 19"/>
          <p:cNvSpPr/>
          <p:nvPr/>
        </p:nvSpPr>
        <p:spPr>
          <a:xfrm>
            <a:off x="2187575" y="4638675"/>
            <a:ext cx="107950" cy="431800"/>
          </a:xfrm>
          <a:custGeom>
            <a:avLst/>
            <a:gdLst/>
            <a:ahLst/>
            <a:cxnLst/>
            <a:rect l="l" t="t" r="r" b="b"/>
            <a:pathLst>
              <a:path w="113664" h="483870">
                <a:moveTo>
                  <a:pt x="0" y="483539"/>
                </a:moveTo>
                <a:lnTo>
                  <a:pt x="113042" y="483539"/>
                </a:lnTo>
                <a:lnTo>
                  <a:pt x="113042" y="0"/>
                </a:lnTo>
                <a:lnTo>
                  <a:pt x="0" y="0"/>
                </a:lnTo>
                <a:lnTo>
                  <a:pt x="0" y="483539"/>
                </a:lnTo>
                <a:close/>
              </a:path>
            </a:pathLst>
          </a:custGeom>
          <a:solidFill>
            <a:srgbClr val="3786DE"/>
          </a:solidFill>
          <a:ln w="31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lang="en" dirty="0">
              <a:solidFill>
                <a:schemeClr val="tx2"/>
              </a:solidFill>
            </a:endParaRPr>
          </a:p>
        </p:txBody>
      </p:sp>
      <p:sp>
        <p:nvSpPr>
          <p:cNvPr id="75" name="object 20"/>
          <p:cNvSpPr/>
          <p:nvPr/>
        </p:nvSpPr>
        <p:spPr>
          <a:xfrm>
            <a:off x="7734300" y="5029200"/>
            <a:ext cx="107950" cy="431800"/>
          </a:xfrm>
          <a:custGeom>
            <a:avLst/>
            <a:gdLst/>
            <a:ahLst/>
            <a:cxnLst/>
            <a:rect l="l" t="t" r="r" b="b"/>
            <a:pathLst>
              <a:path w="113664" h="470535">
                <a:moveTo>
                  <a:pt x="0" y="470268"/>
                </a:moveTo>
                <a:lnTo>
                  <a:pt x="113042" y="470268"/>
                </a:lnTo>
                <a:lnTo>
                  <a:pt x="113042" y="0"/>
                </a:lnTo>
                <a:lnTo>
                  <a:pt x="0" y="0"/>
                </a:lnTo>
                <a:lnTo>
                  <a:pt x="0" y="470268"/>
                </a:lnTo>
                <a:close/>
              </a:path>
            </a:pathLst>
          </a:custGeom>
          <a:solidFill>
            <a:srgbClr val="868685"/>
          </a:solidFill>
          <a:ln w="31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lang="en" dirty="0">
              <a:solidFill>
                <a:schemeClr val="tx2"/>
              </a:solidFill>
            </a:endParaRPr>
          </a:p>
        </p:txBody>
      </p:sp>
      <p:sp>
        <p:nvSpPr>
          <p:cNvPr id="103" name="object 23"/>
          <p:cNvSpPr txBox="1"/>
          <p:nvPr/>
        </p:nvSpPr>
        <p:spPr>
          <a:xfrm>
            <a:off x="8031163" y="5065713"/>
            <a:ext cx="1462088" cy="35083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l" rtl="0">
              <a:lnSpc>
                <a:spcPct val="100000"/>
              </a:lnSpc>
              <a:spcBef>
                <a:spcPts val="100"/>
              </a:spcBef>
            </a:pPr>
            <a:r>
              <a:rPr lang="en" sz="1100" b="0" i="0" u="none" baseline="0">
                <a:solidFill>
                  <a:srgbClr val="3A4D98"/>
                </a:solidFill>
                <a:latin typeface="Myriad Pro" panose="020B0503030403020204" pitchFamily="34" charset="0"/>
                <a:cs typeface="Arial Black"/>
              </a:rPr>
              <a:t>Transport services and </a:t>
            </a:r>
            <a:r>
              <a:rPr lang="en" sz="1100">
                <a:solidFill>
                  <a:srgbClr val="3A4D98"/>
                </a:solidFill>
                <a:latin typeface="Myriad Pro" panose="020B0503030403020204" pitchFamily="34" charset="0"/>
                <a:cs typeface="Arial Black"/>
              </a:rPr>
              <a:t/>
            </a:r>
            <a:br>
              <a:rPr lang="en" sz="1100">
                <a:solidFill>
                  <a:srgbClr val="3A4D98"/>
                </a:solidFill>
                <a:latin typeface="Myriad Pro" panose="020B0503030403020204" pitchFamily="34" charset="0"/>
                <a:cs typeface="Arial Black"/>
              </a:rPr>
            </a:br>
            <a:r>
              <a:rPr lang="en" sz="1100" b="0" i="0" u="none" baseline="0">
                <a:solidFill>
                  <a:srgbClr val="3A4D98"/>
                </a:solidFill>
                <a:latin typeface="Myriad Pro" panose="020B0503030403020204" pitchFamily="34" charset="0"/>
                <a:cs typeface="Arial Black"/>
              </a:rPr>
              <a:t>other services</a:t>
            </a:r>
          </a:p>
        </p:txBody>
      </p:sp>
      <p:sp>
        <p:nvSpPr>
          <p:cNvPr id="101" name="object 20"/>
          <p:cNvSpPr/>
          <p:nvPr/>
        </p:nvSpPr>
        <p:spPr>
          <a:xfrm>
            <a:off x="7734300" y="5545138"/>
            <a:ext cx="107950" cy="431800"/>
          </a:xfrm>
          <a:custGeom>
            <a:avLst/>
            <a:gdLst/>
            <a:ahLst/>
            <a:cxnLst/>
            <a:rect l="l" t="t" r="r" b="b"/>
            <a:pathLst>
              <a:path w="113664" h="470535">
                <a:moveTo>
                  <a:pt x="0" y="470268"/>
                </a:moveTo>
                <a:lnTo>
                  <a:pt x="113042" y="470268"/>
                </a:lnTo>
                <a:lnTo>
                  <a:pt x="113042" y="0"/>
                </a:lnTo>
                <a:lnTo>
                  <a:pt x="0" y="0"/>
                </a:lnTo>
                <a:lnTo>
                  <a:pt x="0" y="470268"/>
                </a:lnTo>
                <a:close/>
              </a:path>
            </a:pathLst>
          </a:custGeom>
          <a:solidFill>
            <a:srgbClr val="555454"/>
          </a:solidFill>
          <a:ln w="31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lang="en" dirty="0">
              <a:solidFill>
                <a:schemeClr val="tx2"/>
              </a:solidFill>
            </a:endParaRPr>
          </a:p>
        </p:txBody>
      </p:sp>
      <p:sp>
        <p:nvSpPr>
          <p:cNvPr id="91" name="object 25"/>
          <p:cNvSpPr txBox="1"/>
          <p:nvPr/>
        </p:nvSpPr>
        <p:spPr>
          <a:xfrm>
            <a:off x="8031163" y="5667375"/>
            <a:ext cx="1501775" cy="1809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l" rtl="0">
              <a:lnSpc>
                <a:spcPct val="100000"/>
              </a:lnSpc>
              <a:spcBef>
                <a:spcPts val="100"/>
              </a:spcBef>
            </a:pPr>
            <a:r>
              <a:rPr lang="en" sz="1100" b="0" i="0" u="none" baseline="0">
                <a:solidFill>
                  <a:srgbClr val="3A4D98"/>
                </a:solidFill>
                <a:latin typeface="Myriad Pro" panose="020B0503030403020204" pitchFamily="34" charset="0"/>
                <a:cs typeface="Arial Black"/>
              </a:rPr>
              <a:t>Other expenses</a:t>
            </a:r>
          </a:p>
        </p:txBody>
      </p:sp>
      <p:sp>
        <p:nvSpPr>
          <p:cNvPr id="72" name="object 2"/>
          <p:cNvSpPr/>
          <p:nvPr/>
        </p:nvSpPr>
        <p:spPr>
          <a:xfrm>
            <a:off x="663575" y="5989638"/>
            <a:ext cx="9172575" cy="596900"/>
          </a:xfrm>
          <a:custGeom>
            <a:avLst/>
            <a:gdLst/>
            <a:ahLst/>
            <a:cxnLst/>
            <a:rect l="l" t="t" r="r" b="b"/>
            <a:pathLst>
              <a:path w="9709150" h="461645">
                <a:moveTo>
                  <a:pt x="9708718" y="0"/>
                </a:moveTo>
                <a:lnTo>
                  <a:pt x="142506" y="0"/>
                </a:lnTo>
                <a:lnTo>
                  <a:pt x="0" y="461073"/>
                </a:lnTo>
                <a:lnTo>
                  <a:pt x="9566198" y="461073"/>
                </a:lnTo>
                <a:lnTo>
                  <a:pt x="9708718" y="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lIns="0" tIns="0" rIns="0" bIns="0" rtlCol="0"/>
          <a:lstStyle/>
          <a:p>
            <a:endParaRPr lang="en" dirty="0"/>
          </a:p>
        </p:txBody>
      </p:sp>
      <p:sp>
        <p:nvSpPr>
          <p:cNvPr id="6" name="Prostokąt 5"/>
          <p:cNvSpPr/>
          <p:nvPr>
            <p:custDataLst>
              <p:tags r:id="rId10"/>
            </p:custDataLst>
          </p:nvPr>
        </p:nvSpPr>
        <p:spPr bwMode="auto">
          <a:xfrm>
            <a:off x="2811463" y="6048375"/>
            <a:ext cx="40640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 rtl="0">
              <a:spcBef>
                <a:spcPct val="0"/>
              </a:spcBef>
              <a:spcAft>
                <a:spcPct val="0"/>
              </a:spcAft>
            </a:pPr>
            <a:fld id="{CB4591E7-12DA-4096-86EB-95C56C8B9E25}" type="datetime'2020'">
              <a:rPr sz="1400" i="1">
                <a:solidFill>
                  <a:srgbClr val="555454"/>
                </a:solidFill>
                <a:latin typeface="Arial" panose="020B0604020202020204" pitchFamily="34" charset="0"/>
              </a:rPr>
              <a:pPr/>
              <a:t>2020</a:t>
            </a:fld>
            <a:endParaRPr lang="en" sz="1400" i="1" dirty="0">
              <a:solidFill>
                <a:srgbClr val="555454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Prostokąt 7"/>
          <p:cNvSpPr/>
          <p:nvPr>
            <p:custDataLst>
              <p:tags r:id="rId11"/>
            </p:custDataLst>
          </p:nvPr>
        </p:nvSpPr>
        <p:spPr bwMode="auto">
          <a:xfrm>
            <a:off x="3598863" y="6048375"/>
            <a:ext cx="40640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 rtl="0">
              <a:spcBef>
                <a:spcPct val="0"/>
              </a:spcBef>
              <a:spcAft>
                <a:spcPct val="0"/>
              </a:spcAft>
            </a:pPr>
            <a:fld id="{B4204720-77F1-4042-A47C-AE9B5523E948}" type="datetime'2021'">
              <a:rPr sz="1400" i="1">
                <a:solidFill>
                  <a:srgbClr val="555454"/>
                </a:solidFill>
                <a:latin typeface="Arial" panose="020B0604020202020204" pitchFamily="34" charset="0"/>
              </a:rPr>
              <a:pPr/>
              <a:t>2021</a:t>
            </a:fld>
            <a:endParaRPr lang="en" sz="1400" i="1" dirty="0">
              <a:solidFill>
                <a:srgbClr val="555454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Prostokąt 1"/>
          <p:cNvSpPr/>
          <p:nvPr>
            <p:custDataLst>
              <p:tags r:id="rId12"/>
            </p:custDataLst>
          </p:nvPr>
        </p:nvSpPr>
        <p:spPr bwMode="auto">
          <a:xfrm>
            <a:off x="5997575" y="6048375"/>
            <a:ext cx="40640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 rtl="0">
              <a:spcBef>
                <a:spcPct val="0"/>
              </a:spcBef>
              <a:spcAft>
                <a:spcPct val="0"/>
              </a:spcAft>
            </a:pPr>
            <a:fld id="{B8E7F73B-22E8-47B6-9E9F-6B618F5DD269}" type="datetime'2020'">
              <a:rPr sz="1400" i="1">
                <a:solidFill>
                  <a:srgbClr val="555454"/>
                </a:solidFill>
                <a:latin typeface="Arial" panose="020B0604020202020204" pitchFamily="34" charset="0"/>
              </a:rPr>
              <a:pPr/>
              <a:t>2020</a:t>
            </a:fld>
            <a:endParaRPr lang="en" sz="1400" i="1" dirty="0">
              <a:solidFill>
                <a:srgbClr val="555454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Prostokąt 2"/>
          <p:cNvSpPr/>
          <p:nvPr>
            <p:custDataLst>
              <p:tags r:id="rId13"/>
            </p:custDataLst>
          </p:nvPr>
        </p:nvSpPr>
        <p:spPr bwMode="auto">
          <a:xfrm>
            <a:off x="6970713" y="6048375"/>
            <a:ext cx="40640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 rtl="0">
              <a:spcBef>
                <a:spcPct val="0"/>
              </a:spcBef>
              <a:spcAft>
                <a:spcPct val="0"/>
              </a:spcAft>
            </a:pPr>
            <a:fld id="{A7B83D26-1C58-466D-A192-EC8B13737B5E}" type="datetime'2021'">
              <a:rPr sz="1400" i="1">
                <a:solidFill>
                  <a:srgbClr val="555454"/>
                </a:solidFill>
                <a:latin typeface="Arial" panose="020B0604020202020204" pitchFamily="34" charset="0"/>
              </a:rPr>
              <a:pPr/>
              <a:t>2021</a:t>
            </a:fld>
            <a:endParaRPr lang="en" sz="1400" i="1" dirty="0">
              <a:solidFill>
                <a:srgbClr val="555454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9" name="Prostokąt 98"/>
          <p:cNvSpPr/>
          <p:nvPr>
            <p:custDataLst>
              <p:tags r:id="rId14"/>
            </p:custDataLst>
          </p:nvPr>
        </p:nvSpPr>
        <p:spPr bwMode="auto">
          <a:xfrm>
            <a:off x="7923213" y="6048375"/>
            <a:ext cx="446088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 rtl="0">
              <a:spcBef>
                <a:spcPct val="0"/>
              </a:spcBef>
              <a:spcAft>
                <a:spcPct val="0"/>
              </a:spcAft>
            </a:pPr>
            <a:fld id="{C9FFC663-C039-4D25-A8E8-CE66FC7111CC}" type="datetime'Label'">
              <a:rPr sz="1400" i="1">
                <a:solidFill>
                  <a:srgbClr val="555454"/>
                </a:solidFill>
                <a:latin typeface="Arial" panose="020B0604020202020204" pitchFamily="34" charset="0"/>
              </a:rPr>
              <a:pPr/>
              <a:t>Label</a:t>
            </a:fld>
            <a:endParaRPr lang="en" sz="1400" i="1" dirty="0">
              <a:solidFill>
                <a:srgbClr val="555454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77" name="Obraz 76" descr="strzalka-2.png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6958" y="6829425"/>
            <a:ext cx="253916" cy="351576"/>
          </a:xfrm>
          <a:prstGeom prst="rect">
            <a:avLst/>
          </a:prstGeom>
        </p:spPr>
      </p:pic>
      <p:sp>
        <p:nvSpPr>
          <p:cNvPr id="64" name="1331.25226.7510.75244.751"/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846138" y="7196301"/>
            <a:ext cx="6889750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73152" rIns="0" bIns="0">
            <a:spAutoFit/>
          </a:bodyPr>
          <a:lstStyle/>
          <a:p>
            <a:pPr algn="l" rtl="0" eaLnBrk="0" hangingPunct="0">
              <a:spcAft>
                <a:spcPct val="0"/>
              </a:spcAft>
              <a:tabLst>
                <a:tab pos="8864600" algn="r"/>
              </a:tabLst>
            </a:pPr>
            <a:r>
              <a:rPr lang="en" sz="900" b="0" i="1" u="none" baseline="300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SC STKaiti"/>
                <a:cs typeface="Arial" panose="020B0604020202020204" pitchFamily="34" charset="0"/>
              </a:rPr>
              <a:t>1</a:t>
            </a:r>
            <a:r>
              <a:rPr lang="en" sz="900" b="0" i="1" u="none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SC STKaiti"/>
                <a:cs typeface="Arial" panose="020B0604020202020204" pitchFamily="34" charset="0"/>
              </a:rPr>
              <a:t> Revenues from contracts with customers, excluding revenues on rail transportation and freight forwarding services</a:t>
            </a:r>
          </a:p>
        </p:txBody>
      </p:sp>
    </p:spTree>
    <p:extLst>
      <p:ext uri="{BB962C8B-B14F-4D97-AF65-F5344CB8AC3E}">
        <p14:creationId xmlns:p14="http://schemas.microsoft.com/office/powerpoint/2010/main" val="49875428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umeru slajdu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 rtl="0"/>
            <a:fld id="{022581BA-A277-4FE5-891C-DC92D7F0A26A}" type="slidenum">
              <a:rPr/>
              <a:pPr algn="r" rtl="0"/>
              <a:t>9</a:t>
            </a:fld>
            <a:endParaRPr lang="en" dirty="0"/>
          </a:p>
        </p:txBody>
      </p:sp>
      <p:sp>
        <p:nvSpPr>
          <p:cNvPr id="113" name="Prostokąt 112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rtl="0"/>
            <a:endParaRPr lang="en" sz="1400" b="1" dirty="0">
              <a:latin typeface="Calibri" panose="020F0502020204030204" pitchFamily="34" charset="0"/>
              <a:sym typeface="+mn-lt"/>
            </a:endParaRPr>
          </a:p>
        </p:txBody>
      </p:sp>
      <p:sp>
        <p:nvSpPr>
          <p:cNvPr id="17" name="Rectangle 16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rtl="0"/>
            <a:endParaRPr lang="en" sz="1400" dirty="0">
              <a:sym typeface="Arial Black" panose="020B0A04020102020204" pitchFamily="34" charset="0"/>
            </a:endParaRPr>
          </a:p>
        </p:txBody>
      </p:sp>
      <p:sp>
        <p:nvSpPr>
          <p:cNvPr id="105" name="Prostokąt 104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rtl="0"/>
            <a:endParaRPr lang="en" sz="1400" dirty="0">
              <a:sym typeface="+mn-lt"/>
            </a:endParaRPr>
          </a:p>
        </p:txBody>
      </p:sp>
      <p:graphicFrame>
        <p:nvGraphicFramePr>
          <p:cNvPr id="9" name="Obi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69994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566" name="think-cell Slide" r:id="rId18" imgW="421" imgH="423" progId="TCLayout.ActiveDocument.1">
                  <p:embed/>
                </p:oleObj>
              </mc:Choice>
              <mc:Fallback>
                <p:oleObj name="think-cell Slide" r:id="rId18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Obraz 2" descr="strzalka.png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114" y="798439"/>
            <a:ext cx="540000" cy="727158"/>
          </a:xfrm>
          <a:prstGeom prst="rect">
            <a:avLst/>
          </a:prstGeom>
        </p:spPr>
      </p:pic>
      <p:sp>
        <p:nvSpPr>
          <p:cNvPr id="4" name="object 3"/>
          <p:cNvSpPr txBox="1"/>
          <p:nvPr/>
        </p:nvSpPr>
        <p:spPr>
          <a:xfrm>
            <a:off x="1513320" y="802904"/>
            <a:ext cx="8654410" cy="62837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algn="l" rtl="0">
              <a:spcBef>
                <a:spcPts val="100"/>
              </a:spcBef>
            </a:pPr>
            <a:r>
              <a:rPr lang="en" sz="2000" b="0" i="0" u="none" baseline="0">
                <a:solidFill>
                  <a:srgbClr val="3A4D98"/>
                </a:solidFill>
                <a:latin typeface="Myriad Pro"/>
                <a:ea typeface="Myriad Pro"/>
                <a:cs typeface="Myriad Pro"/>
              </a:rPr>
              <a:t>Structure and level of employment in the PKP CARGO Group </a:t>
            </a:r>
            <a:r>
              <a:rPr lang="en" sz="2000">
                <a:solidFill>
                  <a:srgbClr val="3A4D98"/>
                </a:solidFill>
                <a:latin typeface="Myriad Pro"/>
                <a:cs typeface="Myriad Pro"/>
              </a:rPr>
              <a:t/>
            </a:r>
            <a:br>
              <a:rPr lang="en" sz="2000">
                <a:solidFill>
                  <a:srgbClr val="3A4D98"/>
                </a:solidFill>
                <a:latin typeface="Myriad Pro"/>
                <a:cs typeface="Myriad Pro"/>
              </a:rPr>
            </a:br>
            <a:endParaRPr lang="en" sz="2000" dirty="0">
              <a:solidFill>
                <a:srgbClr val="3A4D98"/>
              </a:solidFill>
              <a:latin typeface="Myriad Pro"/>
              <a:cs typeface="Myriad Pro"/>
            </a:endParaRPr>
          </a:p>
        </p:txBody>
      </p:sp>
      <p:sp>
        <p:nvSpPr>
          <p:cNvPr id="40" name="object 48"/>
          <p:cNvSpPr txBox="1"/>
          <p:nvPr/>
        </p:nvSpPr>
        <p:spPr>
          <a:xfrm>
            <a:off x="1132681" y="1922202"/>
            <a:ext cx="4725988" cy="1968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3970" algn="l" rtl="0">
              <a:spcBef>
                <a:spcPts val="100"/>
              </a:spcBef>
            </a:pPr>
            <a:r>
              <a:rPr lang="pl-PL" sz="1200" b="1" i="0" u="none" spc="5" baseline="0" dirty="0">
                <a:solidFill>
                  <a:srgbClr val="3A4D98"/>
                </a:solidFill>
                <a:latin typeface="Myriad Pro"/>
                <a:ea typeface="Myriad Pro"/>
                <a:cs typeface="Myriad Pro"/>
              </a:rPr>
              <a:t>EMPLOYEES OF </a:t>
            </a:r>
            <a:r>
              <a:rPr lang="en" sz="1200" b="1" i="0" u="none" spc="5" baseline="0" dirty="0">
                <a:solidFill>
                  <a:srgbClr val="3A4D98"/>
                </a:solidFill>
                <a:latin typeface="Myriad Pro"/>
                <a:ea typeface="Myriad Pro"/>
                <a:cs typeface="Myriad Pro"/>
              </a:rPr>
              <a:t>THE PKP CARGO GROUP </a:t>
            </a:r>
          </a:p>
        </p:txBody>
      </p:sp>
      <p:cxnSp>
        <p:nvCxnSpPr>
          <p:cNvPr id="24" name="Łącznik prosty 23"/>
          <p:cNvCxnSpPr/>
          <p:nvPr>
            <p:custDataLst>
              <p:tags r:id="rId3"/>
            </p:custDataLst>
          </p:nvPr>
        </p:nvCxnSpPr>
        <p:spPr bwMode="auto">
          <a:xfrm flipV="1">
            <a:off x="6372225" y="2687638"/>
            <a:ext cx="0" cy="762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Łącznik prosty 26"/>
          <p:cNvCxnSpPr/>
          <p:nvPr>
            <p:custDataLst>
              <p:tags r:id="rId4"/>
            </p:custDataLst>
          </p:nvPr>
        </p:nvCxnSpPr>
        <p:spPr bwMode="auto">
          <a:xfrm>
            <a:off x="6372225" y="2687638"/>
            <a:ext cx="1136650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" name="Łącznik prosty 29"/>
          <p:cNvCxnSpPr/>
          <p:nvPr>
            <p:custDataLst>
              <p:tags r:id="rId5"/>
            </p:custDataLst>
          </p:nvPr>
        </p:nvCxnSpPr>
        <p:spPr bwMode="auto">
          <a:xfrm>
            <a:off x="7508875" y="2687638"/>
            <a:ext cx="0" cy="182562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5" name="Prostokąt 24"/>
          <p:cNvSpPr/>
          <p:nvPr>
            <p:custDataLst>
              <p:tags r:id="rId6"/>
            </p:custDataLst>
          </p:nvPr>
        </p:nvSpPr>
        <p:spPr bwMode="gray">
          <a:xfrm>
            <a:off x="6100763" y="2801938"/>
            <a:ext cx="542925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 rtl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63FBC79-0EC7-40FC-B4A2-A719CAC6A943}" type="datetime'21,766'">
              <a:rPr sz="1400">
                <a:solidFill>
                  <a:schemeClr val="tx1"/>
                </a:solidFill>
              </a:rPr>
              <a:pPr/>
              <a:t>21,766</a:t>
            </a:fld>
            <a:endParaRPr lang="en" sz="1400">
              <a:solidFill>
                <a:schemeClr val="tx1"/>
              </a:solidFill>
              <a:sym typeface="+mn-lt"/>
            </a:endParaRPr>
          </a:p>
        </p:txBody>
      </p:sp>
      <p:grpSp>
        <p:nvGrpSpPr>
          <p:cNvPr id="65" name="Group 4163"/>
          <p:cNvGrpSpPr/>
          <p:nvPr/>
        </p:nvGrpSpPr>
        <p:grpSpPr>
          <a:xfrm flipH="1">
            <a:off x="1738852" y="2863341"/>
            <a:ext cx="671513" cy="1682750"/>
            <a:chOff x="0" y="0"/>
            <a:chExt cx="1518113" cy="3799413"/>
          </a:xfrm>
          <a:solidFill>
            <a:schemeClr val="accent1"/>
          </a:solidFill>
        </p:grpSpPr>
        <p:sp>
          <p:nvSpPr>
            <p:cNvPr id="67" name="Shape 4162"/>
            <p:cNvSpPr/>
            <p:nvPr/>
          </p:nvSpPr>
          <p:spPr>
            <a:xfrm>
              <a:off x="467744" y="0"/>
              <a:ext cx="607253" cy="59391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9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lvl="0" algn="l" rtl="0"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3200">
                <a:solidFill>
                  <a:srgbClr val="FF0000"/>
                </a:solidFill>
              </a:endParaRPr>
            </a:p>
          </p:txBody>
        </p:sp>
        <p:sp>
          <p:nvSpPr>
            <p:cNvPr id="66" name="Shape 4161"/>
            <p:cNvSpPr/>
            <p:nvPr/>
          </p:nvSpPr>
          <p:spPr>
            <a:xfrm>
              <a:off x="0" y="650860"/>
              <a:ext cx="1518114" cy="314855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338" y="0"/>
                  </a:moveTo>
                  <a:cubicBezTo>
                    <a:pt x="5538" y="0"/>
                    <a:pt x="5538" y="0"/>
                    <a:pt x="5538" y="0"/>
                  </a:cubicBezTo>
                  <a:cubicBezTo>
                    <a:pt x="1662" y="0"/>
                    <a:pt x="0" y="1580"/>
                    <a:pt x="0" y="2107"/>
                  </a:cubicBezTo>
                  <a:cubicBezTo>
                    <a:pt x="0" y="9746"/>
                    <a:pt x="0" y="9746"/>
                    <a:pt x="0" y="9746"/>
                  </a:cubicBezTo>
                  <a:cubicBezTo>
                    <a:pt x="0" y="10141"/>
                    <a:pt x="831" y="10537"/>
                    <a:pt x="1938" y="10537"/>
                  </a:cubicBezTo>
                  <a:cubicBezTo>
                    <a:pt x="3046" y="10537"/>
                    <a:pt x="3600" y="10141"/>
                    <a:pt x="3600" y="9746"/>
                  </a:cubicBezTo>
                  <a:cubicBezTo>
                    <a:pt x="3600" y="3424"/>
                    <a:pt x="3600" y="3424"/>
                    <a:pt x="3600" y="3424"/>
                  </a:cubicBezTo>
                  <a:cubicBezTo>
                    <a:pt x="5262" y="3424"/>
                    <a:pt x="5262" y="3424"/>
                    <a:pt x="5262" y="3424"/>
                  </a:cubicBezTo>
                  <a:cubicBezTo>
                    <a:pt x="5262" y="9483"/>
                    <a:pt x="5262" y="9483"/>
                    <a:pt x="5262" y="9483"/>
                  </a:cubicBezTo>
                  <a:cubicBezTo>
                    <a:pt x="5262" y="9483"/>
                    <a:pt x="5262" y="9615"/>
                    <a:pt x="5262" y="9746"/>
                  </a:cubicBezTo>
                  <a:cubicBezTo>
                    <a:pt x="5262" y="20283"/>
                    <a:pt x="5262" y="20283"/>
                    <a:pt x="5262" y="20283"/>
                  </a:cubicBezTo>
                  <a:cubicBezTo>
                    <a:pt x="5262" y="21073"/>
                    <a:pt x="6369" y="21600"/>
                    <a:pt x="7754" y="21600"/>
                  </a:cubicBezTo>
                  <a:cubicBezTo>
                    <a:pt x="9138" y="21600"/>
                    <a:pt x="10246" y="21073"/>
                    <a:pt x="10246" y="20283"/>
                  </a:cubicBezTo>
                  <a:cubicBezTo>
                    <a:pt x="10246" y="10932"/>
                    <a:pt x="10246" y="10932"/>
                    <a:pt x="10246" y="10932"/>
                  </a:cubicBezTo>
                  <a:cubicBezTo>
                    <a:pt x="11354" y="10932"/>
                    <a:pt x="11354" y="10932"/>
                    <a:pt x="11354" y="10932"/>
                  </a:cubicBezTo>
                  <a:cubicBezTo>
                    <a:pt x="11354" y="20283"/>
                    <a:pt x="11354" y="20283"/>
                    <a:pt x="11354" y="20283"/>
                  </a:cubicBezTo>
                  <a:cubicBezTo>
                    <a:pt x="11354" y="21073"/>
                    <a:pt x="12462" y="21600"/>
                    <a:pt x="13846" y="21600"/>
                  </a:cubicBezTo>
                  <a:cubicBezTo>
                    <a:pt x="15231" y="21600"/>
                    <a:pt x="16338" y="21073"/>
                    <a:pt x="16338" y="20283"/>
                  </a:cubicBezTo>
                  <a:cubicBezTo>
                    <a:pt x="16338" y="3424"/>
                    <a:pt x="16338" y="3424"/>
                    <a:pt x="16338" y="3424"/>
                  </a:cubicBezTo>
                  <a:cubicBezTo>
                    <a:pt x="17723" y="3424"/>
                    <a:pt x="17723" y="3424"/>
                    <a:pt x="17723" y="3424"/>
                  </a:cubicBezTo>
                  <a:cubicBezTo>
                    <a:pt x="17723" y="9746"/>
                    <a:pt x="17723" y="9746"/>
                    <a:pt x="17723" y="9746"/>
                  </a:cubicBezTo>
                  <a:cubicBezTo>
                    <a:pt x="17723" y="10141"/>
                    <a:pt x="18554" y="10537"/>
                    <a:pt x="19662" y="10537"/>
                  </a:cubicBezTo>
                  <a:cubicBezTo>
                    <a:pt x="20769" y="10537"/>
                    <a:pt x="21600" y="10141"/>
                    <a:pt x="21600" y="9746"/>
                  </a:cubicBezTo>
                  <a:cubicBezTo>
                    <a:pt x="21600" y="1976"/>
                    <a:pt x="21600" y="1976"/>
                    <a:pt x="21600" y="1976"/>
                  </a:cubicBezTo>
                  <a:cubicBezTo>
                    <a:pt x="21600" y="1317"/>
                    <a:pt x="19938" y="0"/>
                    <a:pt x="16338" y="0"/>
                  </a:cubicBezTo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lvl="0" algn="l" rtl="0"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3200">
                <a:solidFill>
                  <a:srgbClr val="FF0000"/>
                </a:solidFill>
              </a:endParaRPr>
            </a:p>
          </p:txBody>
        </p:sp>
      </p:grpSp>
      <p:grpSp>
        <p:nvGrpSpPr>
          <p:cNvPr id="74" name="Group 4163"/>
          <p:cNvGrpSpPr/>
          <p:nvPr/>
        </p:nvGrpSpPr>
        <p:grpSpPr>
          <a:xfrm flipH="1">
            <a:off x="3053302" y="2863341"/>
            <a:ext cx="673100" cy="1682750"/>
            <a:chOff x="0" y="0"/>
            <a:chExt cx="1518113" cy="3799413"/>
          </a:xfrm>
          <a:solidFill>
            <a:schemeClr val="accent1"/>
          </a:solidFill>
        </p:grpSpPr>
        <p:sp>
          <p:nvSpPr>
            <p:cNvPr id="76" name="Shape 4162"/>
            <p:cNvSpPr/>
            <p:nvPr/>
          </p:nvSpPr>
          <p:spPr>
            <a:xfrm>
              <a:off x="467744" y="0"/>
              <a:ext cx="607253" cy="59391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9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lvl="0" algn="l" rtl="0"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3200">
                <a:solidFill>
                  <a:srgbClr val="FF0000"/>
                </a:solidFill>
              </a:endParaRPr>
            </a:p>
          </p:txBody>
        </p:sp>
        <p:sp>
          <p:nvSpPr>
            <p:cNvPr id="75" name="Shape 4161"/>
            <p:cNvSpPr/>
            <p:nvPr/>
          </p:nvSpPr>
          <p:spPr>
            <a:xfrm>
              <a:off x="0" y="650860"/>
              <a:ext cx="1518114" cy="314855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338" y="0"/>
                  </a:moveTo>
                  <a:cubicBezTo>
                    <a:pt x="5538" y="0"/>
                    <a:pt x="5538" y="0"/>
                    <a:pt x="5538" y="0"/>
                  </a:cubicBezTo>
                  <a:cubicBezTo>
                    <a:pt x="1662" y="0"/>
                    <a:pt x="0" y="1580"/>
                    <a:pt x="0" y="2107"/>
                  </a:cubicBezTo>
                  <a:cubicBezTo>
                    <a:pt x="0" y="9746"/>
                    <a:pt x="0" y="9746"/>
                    <a:pt x="0" y="9746"/>
                  </a:cubicBezTo>
                  <a:cubicBezTo>
                    <a:pt x="0" y="10141"/>
                    <a:pt x="831" y="10537"/>
                    <a:pt x="1938" y="10537"/>
                  </a:cubicBezTo>
                  <a:cubicBezTo>
                    <a:pt x="3046" y="10537"/>
                    <a:pt x="3600" y="10141"/>
                    <a:pt x="3600" y="9746"/>
                  </a:cubicBezTo>
                  <a:cubicBezTo>
                    <a:pt x="3600" y="3424"/>
                    <a:pt x="3600" y="3424"/>
                    <a:pt x="3600" y="3424"/>
                  </a:cubicBezTo>
                  <a:cubicBezTo>
                    <a:pt x="5262" y="3424"/>
                    <a:pt x="5262" y="3424"/>
                    <a:pt x="5262" y="3424"/>
                  </a:cubicBezTo>
                  <a:cubicBezTo>
                    <a:pt x="5262" y="9483"/>
                    <a:pt x="5262" y="9483"/>
                    <a:pt x="5262" y="9483"/>
                  </a:cubicBezTo>
                  <a:cubicBezTo>
                    <a:pt x="5262" y="9483"/>
                    <a:pt x="5262" y="9615"/>
                    <a:pt x="5262" y="9746"/>
                  </a:cubicBezTo>
                  <a:cubicBezTo>
                    <a:pt x="5262" y="20283"/>
                    <a:pt x="5262" y="20283"/>
                    <a:pt x="5262" y="20283"/>
                  </a:cubicBezTo>
                  <a:cubicBezTo>
                    <a:pt x="5262" y="21073"/>
                    <a:pt x="6369" y="21600"/>
                    <a:pt x="7754" y="21600"/>
                  </a:cubicBezTo>
                  <a:cubicBezTo>
                    <a:pt x="9138" y="21600"/>
                    <a:pt x="10246" y="21073"/>
                    <a:pt x="10246" y="20283"/>
                  </a:cubicBezTo>
                  <a:cubicBezTo>
                    <a:pt x="10246" y="10932"/>
                    <a:pt x="10246" y="10932"/>
                    <a:pt x="10246" y="10932"/>
                  </a:cubicBezTo>
                  <a:cubicBezTo>
                    <a:pt x="11354" y="10932"/>
                    <a:pt x="11354" y="10932"/>
                    <a:pt x="11354" y="10932"/>
                  </a:cubicBezTo>
                  <a:cubicBezTo>
                    <a:pt x="11354" y="20283"/>
                    <a:pt x="11354" y="20283"/>
                    <a:pt x="11354" y="20283"/>
                  </a:cubicBezTo>
                  <a:cubicBezTo>
                    <a:pt x="11354" y="21073"/>
                    <a:pt x="12462" y="21600"/>
                    <a:pt x="13846" y="21600"/>
                  </a:cubicBezTo>
                  <a:cubicBezTo>
                    <a:pt x="15231" y="21600"/>
                    <a:pt x="16338" y="21073"/>
                    <a:pt x="16338" y="20283"/>
                  </a:cubicBezTo>
                  <a:cubicBezTo>
                    <a:pt x="16338" y="3424"/>
                    <a:pt x="16338" y="3424"/>
                    <a:pt x="16338" y="3424"/>
                  </a:cubicBezTo>
                  <a:cubicBezTo>
                    <a:pt x="17723" y="3424"/>
                    <a:pt x="17723" y="3424"/>
                    <a:pt x="17723" y="3424"/>
                  </a:cubicBezTo>
                  <a:cubicBezTo>
                    <a:pt x="17723" y="9746"/>
                    <a:pt x="17723" y="9746"/>
                    <a:pt x="17723" y="9746"/>
                  </a:cubicBezTo>
                  <a:cubicBezTo>
                    <a:pt x="17723" y="10141"/>
                    <a:pt x="18554" y="10537"/>
                    <a:pt x="19662" y="10537"/>
                  </a:cubicBezTo>
                  <a:cubicBezTo>
                    <a:pt x="20769" y="10537"/>
                    <a:pt x="21600" y="10141"/>
                    <a:pt x="21600" y="9746"/>
                  </a:cubicBezTo>
                  <a:cubicBezTo>
                    <a:pt x="21600" y="1976"/>
                    <a:pt x="21600" y="1976"/>
                    <a:pt x="21600" y="1976"/>
                  </a:cubicBezTo>
                  <a:cubicBezTo>
                    <a:pt x="21600" y="1317"/>
                    <a:pt x="19938" y="0"/>
                    <a:pt x="16338" y="0"/>
                  </a:cubicBezTo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lvl="0" algn="l" rtl="0"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3200">
                <a:solidFill>
                  <a:srgbClr val="FF0000"/>
                </a:solidFill>
              </a:endParaRPr>
            </a:p>
          </p:txBody>
        </p:sp>
      </p:grpSp>
      <p:sp>
        <p:nvSpPr>
          <p:cNvPr id="26" name="Prostokąt 25"/>
          <p:cNvSpPr/>
          <p:nvPr>
            <p:custDataLst>
              <p:tags r:id="rId7"/>
            </p:custDataLst>
          </p:nvPr>
        </p:nvSpPr>
        <p:spPr bwMode="gray">
          <a:xfrm>
            <a:off x="7237413" y="2908300"/>
            <a:ext cx="542925" cy="192088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b"/>
          <a:lstStyle/>
          <a:p>
            <a:pPr algn="ctr" rtl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032EB6D-BCCE-4492-A7A2-C97E6E36FAB0}" type="datetime'20,562'">
              <a:rPr sz="1400">
                <a:solidFill>
                  <a:schemeClr val="tx1"/>
                </a:solidFill>
              </a:rPr>
              <a:pPr/>
              <a:t>20,562</a:t>
            </a:fld>
            <a:endParaRPr lang="en" sz="1400">
              <a:solidFill>
                <a:schemeClr val="tx1"/>
              </a:solidFill>
              <a:sym typeface="+mn-lt"/>
            </a:endParaRPr>
          </a:p>
        </p:txBody>
      </p:sp>
      <p:graphicFrame>
        <p:nvGraphicFramePr>
          <p:cNvPr id="82" name="Chart 3"/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293719717"/>
              </p:ext>
            </p:extLst>
          </p:nvPr>
        </p:nvGraphicFramePr>
        <p:xfrm>
          <a:off x="5341938" y="2936875"/>
          <a:ext cx="3198812" cy="20859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1"/>
          </a:graphicData>
        </a:graphic>
      </p:graphicFrame>
      <p:sp>
        <p:nvSpPr>
          <p:cNvPr id="69" name="Shape 4167"/>
          <p:cNvSpPr/>
          <p:nvPr/>
        </p:nvSpPr>
        <p:spPr>
          <a:xfrm>
            <a:off x="1672177" y="3838066"/>
            <a:ext cx="804863" cy="80327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chemeClr val="tx2"/>
          </a:solidFill>
          <a:ln w="12700" cap="flat">
            <a:solidFill>
              <a:schemeClr val="tx2"/>
            </a:solidFill>
            <a:miter lim="400000"/>
          </a:ln>
          <a:effectLst/>
        </p:spPr>
        <p:txBody>
          <a:bodyPr wrap="square" lIns="50800" tIns="50800" rIns="50800" bIns="50800" numCol="1" anchor="ctr">
            <a:noAutofit/>
          </a:bodyPr>
          <a:lstStyle/>
          <a:p>
            <a:pPr lvl="0" algn="ctr" rtl="0">
              <a:defRPr sz="320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r>
              <a:rPr lang="en" sz="1600" b="1" i="0" u="none" baseline="0">
                <a:solidFill>
                  <a:schemeClr val="bg1"/>
                </a:solidFill>
                <a:latin typeface="Myriad Pro" panose="020B0503030403020204" pitchFamily="34" charset="0"/>
                <a:ea typeface="Helvetica Light"/>
                <a:cs typeface="Helvetica Light"/>
              </a:rPr>
              <a:t>4,808</a:t>
            </a:r>
            <a:endParaRPr sz="1600" b="1" dirty="0">
              <a:solidFill>
                <a:schemeClr val="bg1"/>
              </a:solidFill>
              <a:latin typeface="Myriad Pro" panose="020B0503030403020204" pitchFamily="34" charset="0"/>
              <a:ea typeface="Helvetica Light"/>
              <a:cs typeface="Helvetica Light"/>
            </a:endParaRPr>
          </a:p>
        </p:txBody>
      </p:sp>
      <p:sp>
        <p:nvSpPr>
          <p:cNvPr id="77" name="Shape 4167"/>
          <p:cNvSpPr/>
          <p:nvPr/>
        </p:nvSpPr>
        <p:spPr>
          <a:xfrm>
            <a:off x="2986627" y="3838066"/>
            <a:ext cx="804863" cy="80327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chemeClr val="tx2"/>
          </a:solidFill>
          <a:ln w="12700" cap="flat">
            <a:solidFill>
              <a:schemeClr val="tx2"/>
            </a:solidFill>
            <a:miter lim="400000"/>
          </a:ln>
          <a:effectLst/>
        </p:spPr>
        <p:txBody>
          <a:bodyPr wrap="square" lIns="50800" tIns="50800" rIns="50800" bIns="50800" numCol="1" anchor="ctr">
            <a:noAutofit/>
          </a:bodyPr>
          <a:lstStyle/>
          <a:p>
            <a:pPr lvl="0" algn="ctr" rtl="0">
              <a:defRPr sz="320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r>
              <a:rPr lang="en" sz="1600" b="1" i="0" u="none" baseline="0">
                <a:solidFill>
                  <a:schemeClr val="bg1"/>
                </a:solidFill>
                <a:latin typeface="Myriad Pro" panose="020B0503030403020204" pitchFamily="34" charset="0"/>
                <a:ea typeface="Myriad Pro" panose="020B0503030403020204" pitchFamily="34" charset="0"/>
                <a:cs typeface="Myriad Pro" panose="020B0503030403020204" pitchFamily="34" charset="0"/>
              </a:rPr>
              <a:t>15,754</a:t>
            </a:r>
            <a:endParaRPr sz="1600" b="1" dirty="0">
              <a:solidFill>
                <a:schemeClr val="bg1"/>
              </a:solidFill>
              <a:latin typeface="Myriad Pro" panose="020B0503030403020204" pitchFamily="34" charset="0"/>
            </a:endParaRPr>
          </a:p>
        </p:txBody>
      </p:sp>
      <p:sp>
        <p:nvSpPr>
          <p:cNvPr id="64" name="Text Placeholder 2"/>
          <p:cNvSpPr txBox="1">
            <a:spLocks/>
          </p:cNvSpPr>
          <p:nvPr/>
        </p:nvSpPr>
        <p:spPr>
          <a:xfrm>
            <a:off x="1068927" y="4811203"/>
            <a:ext cx="2014538" cy="261938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algn="ctr" defTabSz="914400" rtl="0"/>
            <a:r>
              <a:rPr lang="en" sz="1200" i="0" u="none" spc="5" baseline="0" dirty="0">
                <a:solidFill>
                  <a:srgbClr val="3A4D98"/>
                </a:solidFill>
                <a:latin typeface="Myriad Pro"/>
                <a:ea typeface="Myriad Pro"/>
                <a:cs typeface="Myriad Pro"/>
              </a:rPr>
              <a:t>White-collar </a:t>
            </a:r>
            <a:r>
              <a:rPr lang="en" sz="1200" spc="5" dirty="0">
                <a:solidFill>
                  <a:srgbClr val="3A4D98"/>
                </a:solidFill>
                <a:latin typeface="Myriad Pro"/>
                <a:cs typeface="Myriad Pro"/>
              </a:rPr>
              <a:t/>
            </a:r>
            <a:br>
              <a:rPr lang="en" sz="1200" spc="5" dirty="0">
                <a:solidFill>
                  <a:srgbClr val="3A4D98"/>
                </a:solidFill>
                <a:latin typeface="Myriad Pro"/>
                <a:cs typeface="Myriad Pro"/>
              </a:rPr>
            </a:br>
            <a:r>
              <a:rPr lang="en" sz="1200" i="0" u="none" spc="5" baseline="0" dirty="0">
                <a:solidFill>
                  <a:srgbClr val="3A4D98"/>
                </a:solidFill>
                <a:latin typeface="Myriad Pro"/>
                <a:ea typeface="Myriad Pro"/>
                <a:cs typeface="Myriad Pro"/>
              </a:rPr>
              <a:t>jobs</a:t>
            </a:r>
            <a:endParaRPr lang="en" sz="1200" spc="5" dirty="0">
              <a:solidFill>
                <a:srgbClr val="3A4D98"/>
              </a:solidFill>
              <a:latin typeface="Myriad Pro"/>
              <a:cs typeface="Myriad Pro"/>
            </a:endParaRPr>
          </a:p>
        </p:txBody>
      </p:sp>
      <p:sp>
        <p:nvSpPr>
          <p:cNvPr id="78" name="Text Placeholder 2"/>
          <p:cNvSpPr txBox="1">
            <a:spLocks/>
          </p:cNvSpPr>
          <p:nvPr/>
        </p:nvSpPr>
        <p:spPr>
          <a:xfrm>
            <a:off x="2464340" y="4811203"/>
            <a:ext cx="2014538" cy="261938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algn="ctr" defTabSz="914400" rtl="0"/>
            <a:r>
              <a:rPr lang="en" sz="1200" b="0" i="0" u="none" spc="5" baseline="0">
                <a:solidFill>
                  <a:srgbClr val="3A4D98"/>
                </a:solidFill>
                <a:latin typeface="Myriad Pro"/>
                <a:ea typeface="Myriad Pro"/>
                <a:cs typeface="Myriad Pro"/>
              </a:rPr>
              <a:t>Blue-collar </a:t>
            </a:r>
            <a:r>
              <a:rPr lang="en" sz="1200" kern="0">
                <a:solidFill>
                  <a:schemeClr val="tx1">
                    <a:lumMod val="65000"/>
                    <a:lumOff val="35000"/>
                  </a:schemeClr>
                </a:solidFill>
                <a:latin typeface="Myriad Pro" panose="020B0503030403020204" pitchFamily="34" charset="0"/>
              </a:rPr>
              <a:t/>
            </a:r>
            <a:br>
              <a:rPr lang="en" sz="1200" kern="0">
                <a:solidFill>
                  <a:schemeClr val="tx1">
                    <a:lumMod val="65000"/>
                    <a:lumOff val="35000"/>
                  </a:schemeClr>
                </a:solidFill>
                <a:latin typeface="Myriad Pro" panose="020B0503030403020204" pitchFamily="34" charset="0"/>
              </a:rPr>
            </a:br>
            <a:r>
              <a:rPr lang="en" sz="1200" b="0" i="0" u="none" spc="5" baseline="0">
                <a:solidFill>
                  <a:srgbClr val="3A4D98"/>
                </a:solidFill>
                <a:latin typeface="Myriad Pro"/>
                <a:ea typeface="Myriad Pro"/>
                <a:cs typeface="Myriad Pro"/>
              </a:rPr>
              <a:t>jobs</a:t>
            </a:r>
            <a:endParaRPr lang="en" sz="1200" b="1" spc="5" dirty="0">
              <a:solidFill>
                <a:srgbClr val="3A4D98"/>
              </a:solidFill>
              <a:latin typeface="Myriad Pro"/>
              <a:cs typeface="Myriad Pro"/>
            </a:endParaRPr>
          </a:p>
        </p:txBody>
      </p:sp>
      <p:sp>
        <p:nvSpPr>
          <p:cNvPr id="41" name="Rectangle 2"/>
          <p:cNvSpPr/>
          <p:nvPr>
            <p:custDataLst>
              <p:tags r:id="rId9"/>
            </p:custDataLst>
          </p:nvPr>
        </p:nvSpPr>
        <p:spPr bwMode="auto">
          <a:xfrm>
            <a:off x="5986463" y="4991100"/>
            <a:ext cx="771525" cy="182563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 rtl="0">
              <a:spcBef>
                <a:spcPct val="0"/>
              </a:spcBef>
              <a:spcAft>
                <a:spcPct val="0"/>
              </a:spcAft>
            </a:pPr>
            <a:r>
              <a:rPr lang="pl-PL" sz="1200" i="1" dirty="0">
                <a:solidFill>
                  <a:srgbClr val="555454"/>
                </a:solidFill>
                <a:latin typeface="Arial" panose="020B0604020202020204" pitchFamily="34" charset="0"/>
              </a:rPr>
              <a:t>31 Dec 2020</a:t>
            </a:r>
            <a:endParaRPr lang="en" sz="1200" i="1" dirty="0">
              <a:solidFill>
                <a:srgbClr val="555454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9" name="Rectangle 2"/>
          <p:cNvSpPr/>
          <p:nvPr>
            <p:custDataLst>
              <p:tags r:id="rId10"/>
            </p:custDataLst>
          </p:nvPr>
        </p:nvSpPr>
        <p:spPr bwMode="auto">
          <a:xfrm>
            <a:off x="7123113" y="4991100"/>
            <a:ext cx="771525" cy="182563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pl-PL" sz="1200" i="1" dirty="0">
                <a:solidFill>
                  <a:srgbClr val="555454"/>
                </a:solidFill>
                <a:latin typeface="Arial" panose="020B0604020202020204" pitchFamily="34" charset="0"/>
              </a:rPr>
              <a:t>31 Dec 2021</a:t>
            </a:r>
            <a:endParaRPr lang="en" sz="1200" i="1" dirty="0">
              <a:solidFill>
                <a:srgbClr val="555454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2" name="Text Placeholder 2"/>
          <p:cNvSpPr txBox="1">
            <a:spLocks/>
          </p:cNvSpPr>
          <p:nvPr/>
        </p:nvSpPr>
        <p:spPr>
          <a:xfrm>
            <a:off x="1713452" y="5253038"/>
            <a:ext cx="2012950" cy="261938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defPPr>
              <a:defRPr lang="en"/>
            </a:defPPr>
            <a:lvl1pPr algn="ctr" defTabSz="914400">
              <a:defRPr sz="1200" kern="0">
                <a:solidFill>
                  <a:schemeClr val="tx1">
                    <a:lumMod val="65000"/>
                    <a:lumOff val="35000"/>
                  </a:schemeClr>
                </a:solidFill>
                <a:latin typeface="Myriad Pro" panose="020B0503030403020204" pitchFamily="34" charset="0"/>
              </a:defRPr>
            </a:lvl1pPr>
          </a:lstStyle>
          <a:p>
            <a:pPr rtl="0"/>
            <a:r>
              <a:rPr lang="en" b="1" i="0" u="none" kern="1200" spc="5" baseline="0">
                <a:solidFill>
                  <a:srgbClr val="3A4D98"/>
                </a:solidFill>
                <a:latin typeface="Myriad Pro"/>
                <a:ea typeface="Myriad Pro"/>
                <a:cs typeface="Myriad Pro"/>
              </a:rPr>
              <a:t>As at 31 December 2021</a:t>
            </a:r>
            <a:endParaRPr lang="en" b="1" kern="1200" spc="5" dirty="0">
              <a:solidFill>
                <a:srgbClr val="3A4D98"/>
              </a:solidFill>
              <a:latin typeface="Myriad Pro"/>
              <a:cs typeface="Myriad Pro"/>
            </a:endParaRPr>
          </a:p>
        </p:txBody>
      </p:sp>
      <p:sp>
        <p:nvSpPr>
          <p:cNvPr id="36" name="Rectangle 6"/>
          <p:cNvSpPr/>
          <p:nvPr>
            <p:custDataLst>
              <p:tags r:id="rId11"/>
            </p:custDataLst>
          </p:nvPr>
        </p:nvSpPr>
        <p:spPr bwMode="auto">
          <a:xfrm>
            <a:off x="6107113" y="5253038"/>
            <a:ext cx="719138" cy="16827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C2C76048-7665-49DA-8271-CFAA6BD1A600}" type="datetime'Group companies'">
              <a:rPr lang="pl-PL" sz="1100">
                <a:solidFill>
                  <a:srgbClr val="000000"/>
                </a:solidFill>
                <a:latin typeface="Myriad Pro" panose="020B0503030403020204" pitchFamily="34" charset="0"/>
                <a:sym typeface="Myriad Pro" panose="020B0503030403020204" pitchFamily="34" charset="0"/>
              </a:rPr>
              <a:pPr>
                <a:spcBef>
                  <a:spcPct val="0"/>
                </a:spcBef>
                <a:spcAft>
                  <a:spcPct val="0"/>
                </a:spcAft>
              </a:pPr>
              <a:t>Group companies</a:t>
            </a:fld>
            <a:endParaRPr lang="pl-PL" sz="1100" dirty="0">
              <a:solidFill>
                <a:srgbClr val="000000"/>
              </a:solidFill>
              <a:latin typeface="Myriad Pro" panose="020B0503030403020204" pitchFamily="34" charset="0"/>
              <a:sym typeface="Myriad Pro" panose="020B0503030403020204" pitchFamily="34" charset="0"/>
            </a:endParaRPr>
          </a:p>
        </p:txBody>
      </p:sp>
      <p:sp>
        <p:nvSpPr>
          <p:cNvPr id="34" name="Rectangle 26"/>
          <p:cNvSpPr/>
          <p:nvPr>
            <p:custDataLst>
              <p:tags r:id="rId12"/>
            </p:custDataLst>
          </p:nvPr>
        </p:nvSpPr>
        <p:spPr bwMode="auto">
          <a:xfrm>
            <a:off x="5859463" y="5257800"/>
            <a:ext cx="196850" cy="147638"/>
          </a:xfrm>
          <a:prstGeom prst="rect">
            <a:avLst/>
          </a:prstGeom>
          <a:solidFill>
            <a:srgbClr val="8E9ED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">
              <a:solidFill>
                <a:prstClr val="white"/>
              </a:solidFill>
            </a:endParaRPr>
          </a:p>
        </p:txBody>
      </p:sp>
      <p:sp>
        <p:nvSpPr>
          <p:cNvPr id="37" name="Rectangle 7"/>
          <p:cNvSpPr/>
          <p:nvPr>
            <p:custDataLst>
              <p:tags r:id="rId13"/>
            </p:custDataLst>
          </p:nvPr>
        </p:nvSpPr>
        <p:spPr bwMode="auto">
          <a:xfrm>
            <a:off x="6107113" y="5472113"/>
            <a:ext cx="906463" cy="16827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C8E48088-64D9-4C15-85F9-8593535CDC44}" type="datetime'PKP CARGO S.A.'">
              <a:rPr lang="pl-PL" sz="1100">
                <a:solidFill>
                  <a:srgbClr val="000000"/>
                </a:solidFill>
                <a:latin typeface="Myriad Pro" panose="020B0503030403020204" pitchFamily="34" charset="0"/>
                <a:sym typeface="Myriad Pro" panose="020B0503030403020204" pitchFamily="34" charset="0"/>
              </a:rPr>
              <a:pPr>
                <a:spcBef>
                  <a:spcPct val="0"/>
                </a:spcBef>
                <a:spcAft>
                  <a:spcPct val="0"/>
                </a:spcAft>
              </a:pPr>
              <a:t>PKP CARGO S.A.</a:t>
            </a:fld>
            <a:r>
              <a:rPr lang="pl-PL" sz="1100" dirty="0">
                <a:solidFill>
                  <a:srgbClr val="000000"/>
                </a:solidFill>
                <a:latin typeface="Myriad Pro" panose="020B0503030403020204" pitchFamily="34" charset="0"/>
                <a:sym typeface="Myriad Pro" panose="020B0503030403020204" pitchFamily="34" charset="0"/>
              </a:rPr>
              <a:t> </a:t>
            </a:r>
            <a:endParaRPr lang="en" sz="1100" dirty="0">
              <a:solidFill>
                <a:srgbClr val="000000"/>
              </a:solidFill>
              <a:latin typeface="Myriad Pro" panose="020B0503030403020204" pitchFamily="34" charset="0"/>
              <a:sym typeface="Myriad Pro" panose="020B0503030403020204" pitchFamily="34" charset="0"/>
            </a:endParaRPr>
          </a:p>
        </p:txBody>
      </p:sp>
      <p:sp>
        <p:nvSpPr>
          <p:cNvPr id="35" name="Rectangle 27"/>
          <p:cNvSpPr/>
          <p:nvPr>
            <p:custDataLst>
              <p:tags r:id="rId14"/>
            </p:custDataLst>
          </p:nvPr>
        </p:nvSpPr>
        <p:spPr bwMode="auto">
          <a:xfrm>
            <a:off x="5859463" y="5476875"/>
            <a:ext cx="196850" cy="147638"/>
          </a:xfrm>
          <a:prstGeom prst="rect">
            <a:avLst/>
          </a:prstGeom>
          <a:solidFill>
            <a:srgbClr val="004F9F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">
              <a:solidFill>
                <a:prstClr val="white"/>
              </a:solidFill>
            </a:endParaRPr>
          </a:p>
        </p:txBody>
      </p:sp>
      <p:sp>
        <p:nvSpPr>
          <p:cNvPr id="22" name="Elipsa 21"/>
          <p:cNvSpPr/>
          <p:nvPr>
            <p:custDataLst>
              <p:tags r:id="rId15"/>
            </p:custDataLst>
          </p:nvPr>
        </p:nvSpPr>
        <p:spPr bwMode="auto">
          <a:xfrm>
            <a:off x="6746875" y="2536825"/>
            <a:ext cx="388938" cy="301625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rtl="0">
              <a:spcBef>
                <a:spcPct val="0"/>
              </a:spcBef>
              <a:spcAft>
                <a:spcPct val="0"/>
              </a:spcAft>
            </a:pPr>
            <a:fld id="{72B9BBF5-04E3-4644-BC6B-95C91906753A}" type="datetime'-6%'">
              <a:rPr sz="1400" b="1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-6%</a:t>
            </a:fld>
            <a:endParaRPr lang="en" sz="1400" b="1">
              <a:solidFill>
                <a:schemeClr val="tx1"/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556267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77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-%m-%d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6&quot;&gt;&lt;elem m_fUsage=&quot;3.00348759725634284479E+00&quot;&gt;&lt;m_msothmcolidx val=&quot;0&quot;/&gt;&lt;m_rgb r=&quot;CA&quot; g=&quot;C9&quot; b=&quot;C9&quot;/&gt;&lt;/elem&gt;&lt;elem m_fUsage=&quot;2.47538824660388323551E+00&quot;&gt;&lt;m_msothmcolidx val=&quot;0&quot;/&gt;&lt;m_rgb r=&quot;37&quot; g=&quot;86&quot; b=&quot;DE&quot;/&gt;&lt;/elem&gt;&lt;elem m_fUsage=&quot;2.37352853708889721673E+00&quot;&gt;&lt;m_msothmcolidx val=&quot;0&quot;/&gt;&lt;m_rgb r=&quot;8E&quot; g=&quot;9E&quot; b=&quot;D1&quot;/&gt;&lt;/elem&gt;&lt;elem m_fUsage=&quot;1.00190107493804747563E+00&quot;&gt;&lt;m_msothmcolidx val=&quot;0&quot;/&gt;&lt;m_rgb r=&quot;00&quot; g=&quot;4F&quot; b=&quot;9F&quot;/&gt;&lt;/elem&gt;&lt;elem m_fUsage=&quot;5.63003638147828056049E-01&quot;&gt;&lt;m_msothmcolidx val=&quot;0&quot;/&gt;&lt;m_rgb r=&quot;A0&quot; g=&quot;A0&quot; b=&quot;9F&quot;/&gt;&lt;/elem&gt;&lt;elem m_fUsage=&quot;2.46433816504876196385E-01&quot;&gt;&lt;m_msothmcolidx val=&quot;0&quot;/&gt;&lt;m_rgb r=&quot;55&quot; g=&quot;54&quot; b=&quot;54&quot;/&gt;&lt;/elem&gt;&lt;elem m_fUsage=&quot;2.08244372300039254364E-01&quot;&gt;&lt;m_msothmcolidx val=&quot;0&quot;/&gt;&lt;m_rgb r=&quot;EA&quot; g=&quot;F0&quot; b=&quot;F6&quot;/&gt;&lt;/elem&gt;&lt;elem m_fUsage=&quot;8.51349917873580469552E-02&quot;&gt;&lt;m_msothmcolidx val=&quot;0&quot;/&gt;&lt;m_rgb r=&quot;4E&quot; g=&quot;72&quot; b=&quot;B7&quot;/&gt;&lt;/elem&gt;&lt;elem m_fUsage=&quot;2.00013927916437329879E-02&quot;&gt;&lt;m_msothmcolidx val=&quot;0&quot;/&gt;&lt;m_rgb r=&quot;B1&quot; g=&quot;B1&quot; b=&quot;B1&quot;/&gt;&lt;/elem&gt;&lt;elem m_fUsage=&quot;1.09601235853665629483E-02&quot;&gt;&lt;m_msothmcolidx val=&quot;0&quot;/&gt;&lt;m_rgb r=&quot;BA&quot; g=&quot;B9&quot; b=&quot;B9&quot;/&gt;&lt;/elem&gt;&lt;elem m_fUsage=&quot;7.08527363874433217111E-03&quot;&gt;&lt;m_msothmcolidx val=&quot;0&quot;/&gt;&lt;m_rgb r=&quot;F2&quot; g=&quot;F2&quot; b=&quot;F2&quot;/&gt;&lt;/elem&gt;&lt;elem m_fUsage=&quot;2.51001666720567428656E-03&quot;&gt;&lt;m_msothmcolidx val=&quot;0&quot;/&gt;&lt;m_rgb r=&quot;86&quot; g=&quot;86&quot; b=&quot;85&quot;/&gt;&lt;/elem&gt;&lt;elem m_fUsage=&quot;2.29566835649577154557E-03&quot;&gt;&lt;m_msothmcolidx val=&quot;0&quot;/&gt;&lt;m_rgb r=&quot;CA&quot; g=&quot;CA&quot; b=&quot;C9&quot;/&gt;&lt;/elem&gt;&lt;elem m_fUsage=&quot;1.82582337068823686535E-05&quot;&gt;&lt;m_msothmcolidx val=&quot;0&quot;/&gt;&lt;m_rgb r=&quot;82&quot; g=&quot;98&quot; b=&quot;CD&quot;/&gt;&lt;/elem&gt;&lt;elem m_fUsage=&quot;6.75155121849747319078E-06&quot;&gt;&lt;m_msothmcolidx val=&quot;0&quot;/&gt;&lt;m_rgb r=&quot;4E&quot; g=&quot;76&quot; b=&quot;B7&quot;/&gt;&lt;/elem&gt;&lt;elem m_fUsage=&quot;1.52101643398432118726E-07&quot;&gt;&lt;m_msothmcolidx val=&quot;0&quot;/&gt;&lt;m_rgb r=&quot;BA&quot; g=&quot;BA&quot; b=&quot;BA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tI.jVqBlhw.DvuROD_X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DqCZamuH5sX8_rTr8Fp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3aUXaj1LCQqjPPg9D8K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_U3MyzsPJV7GoCcp_ZFo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LERID" val="SourceBox1"/>
  <p:tag name="CHARTLIBVERSION" val="NO VALUE"/>
  <p:tag name="DDVERSION" val="2.0"/>
  <p:tag name="FONTCOLOR" val="NO VALUE"/>
  <p:tag name="LINECOLOR" val="NO VALUE"/>
  <p:tag name="TYPE" val="Source Box"/>
  <p:tag name="DEVICE" val="Canon Colorpass 1000"/>
  <p:tag name="FILLFORECOLOR" val="Transparent"/>
  <p:tag name="SUBOBJECTID" val="SourceBox"/>
  <p:tag name="OBJECTID" val="XLChart"/>
  <p:tag name="SOURCE" val="rulers.ppt!SourceBox1"/>
  <p:tag name="LEFT" val="226.8"/>
  <p:tag name="TOP" val="331.2"/>
  <p:tag name="HEIGHT" val="10.8"/>
  <p:tag name="WIDTH" val="244.8"/>
  <p:tag name="PLACEHOLDERSIZE" val="3"/>
  <p:tag name="ANCHORPOINT" val="2"/>
  <p:tag name="CHARTTYPE" val="Pie Chart"/>
  <p:tag name="CHARTNAME" val="XLChart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Hel9nEZSaaL3WWBjii1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OFXD7FuX_vNiH6imkCl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4Z5rfjHomVV0VA18Wx4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g3Rl_B3Io0wwdEQRg3J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SiU3NR_2VUQ9emGR9D7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_cSrKxkuwErKhvFULGoS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90.zBXMxh8MOWj47yQji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Ws9afIa4eZX1GF2DQMQ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v_J2DA0TkSxD1lIvl2w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6pzFBCBAewT.YPVMMgG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8_EDvwaCW9Gcd1RKRpX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8jrdukp_U8QuHgHVGY5i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2ASKad8zMbRdYUQ90nj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nMaQdZPaqs.MMKlVJ1bU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._9VXR7r9_pZw2kZdYq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DnzDVDvr0wlIJo6xGNw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rsEOUd7lHgAm0rheI5M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5h0Wgs8n6LTmcqgv31BA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v9xBW54EjQiZaR.Wca1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8Zbnngjummrqg9JKZo4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HrZ3DA4q_YaXujsQa.S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nBBnKh4snLMEvJgP2O7Q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jIhi7qisrNY24uIZhyk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RMF9VoopUFrDCSgddmZw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v4VsMZmTWGSG8LSSas2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O.Qj4bf0uZkx.T8OJUHO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1L0h0VfvsO36ttpx1jRx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_U3MyzsPJV7GoCcp_ZFo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SNFbKyh4DhQ_vBpo1Ir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rAc8deNm.5vgDDtBVw1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aROB2te79N32tLyj3dz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RVRwVb6H2wwiXRKajBD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wZkDLySYchqvsUTkN6q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L5gXLrHYsXls7.QyRuV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0hIGPxWX7HwrCVrL9lCR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SHyVIjDt5mCYWYwMWdu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OWCcn4dYthvGbbWGPARJ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6MZh0KnUwms_cW8wFwuy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CTKGaW3H.vJGHeUapNl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ZN3pMnxtLSHoXCDQ9ZA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0EShmhG22CwdQ_LXvcbA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8ZqxJ.hg.cyMLcNRYJHK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bhiL3JTfoVlqHgOJZzF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0yMfXuyPny4cyvk1uQXs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_U3MyzsPJV7GoCcp_ZFo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pKlRO4s7qyrwi36WXLUa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t_PuMGsiZHmmioLXRby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Ea53Veq8H.AQmPkOrh5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kCg3wGFXyO13iv9Ub0I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llNDrQPVmwTB84964coJ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0Q9YCyVshEojXrlmoZY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.gfj2ioYnXuRLBcLV0lW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PRvwPYRUItsGweMvkmt8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_U3MyzsPJV7GoCcp_ZFo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FPlt0XqKHfAicPtApJz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_7.mBaakVQpRJtCQs1h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yWS9ps2r03lwA_LvHcgl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12feT7PDMI8hCZm3B52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ERiLOQS9y1HhbwFD_Ck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PyagAnzS4Uuq9N_AojQ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U_v5dU1g9rm951gKwod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n6XlCbFTEttAuW38sYY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_4KVq_Ove0BjIh8op0R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RB6.QNRU6UaYYze2nya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aBNc3zJRD.hNTnpTiZHM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5UrEb1Iz7ULVDwhAh7G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flQhOrJhwt5EGeQYbu_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NbBU9qnswRd.V6d.2NU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_u1NL8nmYU4AshPvEEJ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r9Y45PX3Yvfsm7Xmit6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reGsslTG7nuEvmL7OE2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uRI_E.Dtqqj0ISNDZGW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3DFH52amQuqrnU8hjVM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_U3MyzsPJV7GoCcp_ZFo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L9GH_VFIVXM.nt6lGN8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3Z847XTLLk7rOQBJSxMW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ULERID" val="SourceBox1"/>
  <p:tag name="CHARTLIBVERSION" val="NO VALUE"/>
  <p:tag name="DDVERSION" val="2.0"/>
  <p:tag name="FONTCOLOR" val="NO VALUE"/>
  <p:tag name="LINECOLOR" val="NO VALUE"/>
  <p:tag name="TYPE" val="Source Box"/>
  <p:tag name="DEVICE" val="Canon Colorpass 1000"/>
  <p:tag name="FILLFORECOLOR" val="Transparent"/>
  <p:tag name="SUBOBJECTID" val="SourceBox"/>
  <p:tag name="OBJECTID" val="XLChart"/>
  <p:tag name="SOURCE" val="rulers.ppt!SourceBox1"/>
  <p:tag name="LEFT" val="226.8"/>
  <p:tag name="TOP" val="331.2"/>
  <p:tag name="HEIGHT" val="10.8"/>
  <p:tag name="WIDTH" val="244.8"/>
  <p:tag name="PLACEHOLDERSIZE" val="3"/>
  <p:tag name="ANCHORPOINT" val="2"/>
  <p:tag name="CHARTTYPE" val="Pie Chart"/>
  <p:tag name="CHARTNAME" val="XLChart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6C34Zik06TJWFX.sDVY4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JMolNiB6xO_ycrFS2SF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XwKFbOitAW2IFXDY1xv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cs.8XmJQO6tLICiQGdB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ZDVEmrgBXQq4i3yQcOO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TmRSyDdokdYzIqWuBi.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nHM7EacsjbvHs.WLBuA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K88KWkvXrKRQL3O70UW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4BRg7gCcvzkWC0Fu1RkO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HPuuV0SH_gtdU7CBWz1I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cyYdKvelV.TNi5w6y.2N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NCykgA7G3gDEkGp9LxC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NGfWxbJUZ.gdjapCnGg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_U3MyzsPJV7GoCcp_ZFo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rNhVqjlwBEagHVnCBz_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g410j9pjfRzdoLCCHJD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99ylTu8FB11VV2.cHcNe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9FBMePeat3o5oTSWFPLy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gm6eRu2mZ9oChss_EOZ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z70uEDh4jaDOt12MZ4u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12O3cTa4AgQy5cu6SC2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sJ2tnejaq9ZNO6g9DZL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QgykKtecka5bRGRsEr5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P0KYXV7RGdqFgLYZ92v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q5pZOK1JDi7_kRW8Cfw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vtyv5L8Q_bVHCN9.Lhd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Pakiet 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Pakiet 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5206</TotalTime>
  <Words>2283</Words>
  <Application>Microsoft Office PowerPoint</Application>
  <PresentationFormat>Niestandardowy</PresentationFormat>
  <Paragraphs>908</Paragraphs>
  <Slides>18</Slides>
  <Notes>8</Notes>
  <HiddenSlides>0</HiddenSlides>
  <MMClips>0</MMClips>
  <ScaleCrop>false</ScaleCrop>
  <HeadingPairs>
    <vt:vector size="8" baseType="variant">
      <vt:variant>
        <vt:lpstr>Używane czcionki</vt:lpstr>
      </vt:variant>
      <vt:variant>
        <vt:i4>15</vt:i4>
      </vt:variant>
      <vt:variant>
        <vt:lpstr>Motyw</vt:lpstr>
      </vt:variant>
      <vt:variant>
        <vt:i4>1</vt:i4>
      </vt:variant>
      <vt:variant>
        <vt:lpstr>Osadzone serwery OLE</vt:lpstr>
      </vt:variant>
      <vt:variant>
        <vt:i4>1</vt:i4>
      </vt:variant>
      <vt:variant>
        <vt:lpstr>Tytuły slajdów</vt:lpstr>
      </vt:variant>
      <vt:variant>
        <vt:i4>18</vt:i4>
      </vt:variant>
    </vt:vector>
  </HeadingPairs>
  <TitlesOfParts>
    <vt:vector size="35" baseType="lpstr">
      <vt:lpstr>Yu Gothic Light</vt:lpstr>
      <vt:lpstr>Arial</vt:lpstr>
      <vt:lpstr>Arial Black</vt:lpstr>
      <vt:lpstr>Calibri</vt:lpstr>
      <vt:lpstr>Courier New</vt:lpstr>
      <vt:lpstr>Helvetica Light</vt:lpstr>
      <vt:lpstr>Myriad pro</vt:lpstr>
      <vt:lpstr>Myriad pro</vt:lpstr>
      <vt:lpstr>Myriad Pro Light</vt:lpstr>
      <vt:lpstr>SC STKaiti</vt:lpstr>
      <vt:lpstr>Segoe UI</vt:lpstr>
      <vt:lpstr>Times New Roman</vt:lpstr>
      <vt:lpstr>Trebuchet MS</vt:lpstr>
      <vt:lpstr>Verdana</vt:lpstr>
      <vt:lpstr>Wingdings</vt:lpstr>
      <vt:lpstr>Office Theme</vt:lpstr>
      <vt:lpstr>think-cell Slide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ja programu PowerPoint</dc:title>
  <dc:creator>Agnieszka.Korolczuk@pkpcargo.com</dc:creator>
  <cp:lastModifiedBy>Olejniczak Magdalena</cp:lastModifiedBy>
  <cp:revision>1501</cp:revision>
  <cp:lastPrinted>2022-03-24T11:57:49Z</cp:lastPrinted>
  <dcterms:created xsi:type="dcterms:W3CDTF">2018-12-17T21:16:29Z</dcterms:created>
  <dcterms:modified xsi:type="dcterms:W3CDTF">2022-04-01T07:22:08Z</dcterms:modified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18-12-17T00:00:00Z</vt:filetime>
  </property>
  <property fmtid="{D5CDD505-2E9C-101B-9397-08002B2CF9AE}" pid="3" name="Creator">
    <vt:lpwstr>Adobe InDesign CC 2017 (Macintosh)</vt:lpwstr>
  </property>
  <property fmtid="{D5CDD505-2E9C-101B-9397-08002B2CF9AE}" pid="4" name="LastSaved">
    <vt:filetime>2018-12-17T00:00:00Z</vt:filetime>
  </property>
</Properties>
</file>